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notesSlides/notesSlide1.xml" ContentType="application/vnd.openxmlformats-officedocument.presentationml.notesSlide+xml"/>
  <Override PartName="/ppt/tags/tag396.xml" ContentType="application/vnd.openxmlformats-officedocument.presentationml.tags+xml"/>
  <Override PartName="/ppt/notesSlides/notesSlide2.xml" ContentType="application/vnd.openxmlformats-officedocument.presentationml.notesSlide+xml"/>
  <Override PartName="/ppt/tags/tag397.xml" ContentType="application/vnd.openxmlformats-officedocument.presentationml.tags+xml"/>
  <Override PartName="/ppt/notesSlides/notesSlide3.xml" ContentType="application/vnd.openxmlformats-officedocument.presentationml.notesSlide+xml"/>
  <Override PartName="/ppt/tags/tag398.xml" ContentType="application/vnd.openxmlformats-officedocument.presentationml.tags+xml"/>
  <Override PartName="/ppt/notesSlides/notesSlide4.xml" ContentType="application/vnd.openxmlformats-officedocument.presentationml.notesSlide+xml"/>
  <Override PartName="/ppt/tags/tag399.xml" ContentType="application/vnd.openxmlformats-officedocument.presentationml.tags+xml"/>
  <Override PartName="/ppt/notesSlides/notesSlide5.xml" ContentType="application/vnd.openxmlformats-officedocument.presentationml.notesSlide+xml"/>
  <Override PartName="/ppt/tags/tag400.xml" ContentType="application/vnd.openxmlformats-officedocument.presentationml.tags+xml"/>
  <Override PartName="/ppt/notesSlides/notesSlide6.xml" ContentType="application/vnd.openxmlformats-officedocument.presentationml.notesSlide+xml"/>
  <Override PartName="/ppt/tags/tag401.xml" ContentType="application/vnd.openxmlformats-officedocument.presentationml.tags+xml"/>
  <Override PartName="/ppt/notesSlides/notesSlide7.xml" ContentType="application/vnd.openxmlformats-officedocument.presentationml.notesSlide+xml"/>
  <Override PartName="/ppt/tags/tag402.xml" ContentType="application/vnd.openxmlformats-officedocument.presentationml.tags+xml"/>
  <Override PartName="/ppt/notesSlides/notesSlide8.xml" ContentType="application/vnd.openxmlformats-officedocument.presentationml.notesSlide+xml"/>
  <Override PartName="/ppt/tags/tag403.xml" ContentType="application/vnd.openxmlformats-officedocument.presentationml.tags+xml"/>
  <Override PartName="/ppt/notesSlides/notesSlide9.xml" ContentType="application/vnd.openxmlformats-officedocument.presentationml.notesSlide+xml"/>
  <Override PartName="/ppt/tags/tag404.xml" ContentType="application/vnd.openxmlformats-officedocument.presentationml.tags+xml"/>
  <Override PartName="/ppt/notesSlides/notesSlide10.xml" ContentType="application/vnd.openxmlformats-officedocument.presentationml.notesSlide+xml"/>
  <Override PartName="/ppt/tags/tag405.xml" ContentType="application/vnd.openxmlformats-officedocument.presentationml.tags+xml"/>
  <Override PartName="/ppt/notesSlides/notesSlide11.xml" ContentType="application/vnd.openxmlformats-officedocument.presentationml.notesSlide+xml"/>
  <Override PartName="/ppt/tags/tag406.xml" ContentType="application/vnd.openxmlformats-officedocument.presentationml.tags+xml"/>
  <Override PartName="/ppt/notesSlides/notesSlide12.xml" ContentType="application/vnd.openxmlformats-officedocument.presentationml.notesSlide+xml"/>
  <Override PartName="/ppt/tags/tag407.xml" ContentType="application/vnd.openxmlformats-officedocument.presentationml.tags+xml"/>
  <Override PartName="/ppt/notesSlides/notesSlide13.xml" ContentType="application/vnd.openxmlformats-officedocument.presentationml.notesSlide+xml"/>
  <Override PartName="/ppt/tags/tag408.xml" ContentType="application/vnd.openxmlformats-officedocument.presentationml.tags+xml"/>
  <Override PartName="/ppt/notesSlides/notesSlide14.xml" ContentType="application/vnd.openxmlformats-officedocument.presentationml.notesSlide+xml"/>
  <Override PartName="/ppt/tags/tag409.xml" ContentType="application/vnd.openxmlformats-officedocument.presentationml.tags+xml"/>
  <Override PartName="/ppt/notesSlides/notesSlide15.xml" ContentType="application/vnd.openxmlformats-officedocument.presentationml.notesSlide+xml"/>
  <Override PartName="/ppt/tags/tag410.xml" ContentType="application/vnd.openxmlformats-officedocument.presentationml.tags+xml"/>
  <Override PartName="/ppt/notesSlides/notesSlide16.xml" ContentType="application/vnd.openxmlformats-officedocument.presentationml.notesSlide+xml"/>
  <Override PartName="/ppt/tags/tag411.xml" ContentType="application/vnd.openxmlformats-officedocument.presentationml.tags+xml"/>
  <Override PartName="/ppt/notesSlides/notesSlide17.xml" ContentType="application/vnd.openxmlformats-officedocument.presentationml.notesSlide+xml"/>
  <Override PartName="/ppt/tags/tag412.xml" ContentType="application/vnd.openxmlformats-officedocument.presentationml.tags+xml"/>
  <Override PartName="/ppt/notesSlides/notesSlide18.xml" ContentType="application/vnd.openxmlformats-officedocument.presentationml.notesSlide+xml"/>
  <Override PartName="/ppt/tags/tag413.xml" ContentType="application/vnd.openxmlformats-officedocument.presentationml.tags+xml"/>
  <Override PartName="/ppt/notesSlides/notesSlide19.xml" ContentType="application/vnd.openxmlformats-officedocument.presentationml.notesSlide+xml"/>
  <Override PartName="/ppt/tags/tag414.xml" ContentType="application/vnd.openxmlformats-officedocument.presentationml.tags+xml"/>
  <Override PartName="/ppt/notesSlides/notesSlide20.xml" ContentType="application/vnd.openxmlformats-officedocument.presentationml.notesSlide+xml"/>
  <Override PartName="/ppt/tags/tag415.xml" ContentType="application/vnd.openxmlformats-officedocument.presentationml.tags+xml"/>
  <Override PartName="/ppt/notesSlides/notesSlide21.xml" ContentType="application/vnd.openxmlformats-officedocument.presentationml.notesSlide+xml"/>
  <Override PartName="/ppt/tags/tag416.xml" ContentType="application/vnd.openxmlformats-officedocument.presentationml.tags+xml"/>
  <Override PartName="/ppt/notesSlides/notesSlide22.xml" ContentType="application/vnd.openxmlformats-officedocument.presentationml.notesSlide+xml"/>
  <Override PartName="/ppt/tags/tag417.xml" ContentType="application/vnd.openxmlformats-officedocument.presentationml.tags+xml"/>
  <Override PartName="/ppt/notesSlides/notesSlide23.xml" ContentType="application/vnd.openxmlformats-officedocument.presentationml.notesSlide+xml"/>
  <Override PartName="/ppt/tags/tag418.xml" ContentType="application/vnd.openxmlformats-officedocument.presentationml.tags+xml"/>
  <Override PartName="/ppt/notesSlides/notesSlide24.xml" ContentType="application/vnd.openxmlformats-officedocument.presentationml.notesSlide+xml"/>
  <Override PartName="/ppt/tags/tag419.xml" ContentType="application/vnd.openxmlformats-officedocument.presentationml.tags+xml"/>
  <Override PartName="/ppt/notesSlides/notesSlide25.xml" ContentType="application/vnd.openxmlformats-officedocument.presentationml.notesSlide+xml"/>
  <Override PartName="/ppt/tags/tag420.xml" ContentType="application/vnd.openxmlformats-officedocument.presentationml.tags+xml"/>
  <Override PartName="/ppt/notesSlides/notesSlide26.xml" ContentType="application/vnd.openxmlformats-officedocument.presentationml.notesSlide+xml"/>
  <Override PartName="/ppt/tags/tag421.xml" ContentType="application/vnd.openxmlformats-officedocument.presentationml.tags+xml"/>
  <Override PartName="/ppt/notesSlides/notesSlide27.xml" ContentType="application/vnd.openxmlformats-officedocument.presentationml.notesSlide+xml"/>
  <Override PartName="/ppt/tags/tag422.xml" ContentType="application/vnd.openxmlformats-officedocument.presentationml.tags+xml"/>
  <Override PartName="/ppt/notesSlides/notesSlide28.xml" ContentType="application/vnd.openxmlformats-officedocument.presentationml.notesSlide+xml"/>
  <Override PartName="/ppt/tags/tag423.xml" ContentType="application/vnd.openxmlformats-officedocument.presentationml.tags+xml"/>
  <Override PartName="/ppt/notesSlides/notesSlide29.xml" ContentType="application/vnd.openxmlformats-officedocument.presentationml.notesSlide+xml"/>
  <Override PartName="/ppt/tags/tag424.xml" ContentType="application/vnd.openxmlformats-officedocument.presentationml.tags+xml"/>
  <Override PartName="/ppt/notesSlides/notesSlide30.xml" ContentType="application/vnd.openxmlformats-officedocument.presentationml.notesSlide+xml"/>
  <Override PartName="/ppt/tags/tag425.xml" ContentType="application/vnd.openxmlformats-officedocument.presentationml.tags+xml"/>
  <Override PartName="/ppt/notesSlides/notesSlide31.xml" ContentType="application/vnd.openxmlformats-officedocument.presentationml.notesSlide+xml"/>
  <Override PartName="/ppt/tags/tag426.xml" ContentType="application/vnd.openxmlformats-officedocument.presentationml.tags+xml"/>
  <Override PartName="/ppt/notesSlides/notesSlide32.xml" ContentType="application/vnd.openxmlformats-officedocument.presentationml.notesSlide+xml"/>
  <Override PartName="/ppt/tags/tag427.xml" ContentType="application/vnd.openxmlformats-officedocument.presentationml.tags+xml"/>
  <Override PartName="/ppt/notesSlides/notesSlide33.xml" ContentType="application/vnd.openxmlformats-officedocument.presentationml.notesSlide+xml"/>
  <Override PartName="/ppt/tags/tag428.xml" ContentType="application/vnd.openxmlformats-officedocument.presentationml.tags+xml"/>
  <Override PartName="/ppt/notesSlides/notesSlide34.xml" ContentType="application/vnd.openxmlformats-officedocument.presentationml.notesSlide+xml"/>
  <Override PartName="/ppt/tags/tag429.xml" ContentType="application/vnd.openxmlformats-officedocument.presentationml.tags+xml"/>
  <Override PartName="/ppt/notesSlides/notesSlide35.xml" ContentType="application/vnd.openxmlformats-officedocument.presentationml.notesSlide+xml"/>
  <Override PartName="/ppt/tags/tag430.xml" ContentType="application/vnd.openxmlformats-officedocument.presentationml.tags+xml"/>
  <Override PartName="/ppt/notesSlides/notesSlide36.xml" ContentType="application/vnd.openxmlformats-officedocument.presentationml.notesSlide+xml"/>
  <Override PartName="/ppt/tags/tag431.xml" ContentType="application/vnd.openxmlformats-officedocument.presentationml.tags+xml"/>
  <Override PartName="/ppt/notesSlides/notesSlide37.xml" ContentType="application/vnd.openxmlformats-officedocument.presentationml.notesSlide+xml"/>
  <Override PartName="/ppt/tags/tag432.xml" ContentType="application/vnd.openxmlformats-officedocument.presentationml.tags+xml"/>
  <Override PartName="/ppt/notesSlides/notesSlide38.xml" ContentType="application/vnd.openxmlformats-officedocument.presentationml.notesSlide+xml"/>
  <Override PartName="/ppt/tags/tag433.xml" ContentType="application/vnd.openxmlformats-officedocument.presentationml.tags+xml"/>
  <Override PartName="/ppt/notesSlides/notesSlide39.xml" ContentType="application/vnd.openxmlformats-officedocument.presentationml.notesSlide+xml"/>
  <Override PartName="/ppt/tags/tag434.xml" ContentType="application/vnd.openxmlformats-officedocument.presentationml.tags+xml"/>
  <Override PartName="/ppt/notesSlides/notesSlide40.xml" ContentType="application/vnd.openxmlformats-officedocument.presentationml.notesSlide+xml"/>
  <Override PartName="/ppt/tags/tag435.xml" ContentType="application/vnd.openxmlformats-officedocument.presentationml.tags+xml"/>
  <Override PartName="/ppt/notesSlides/notesSlide41.xml" ContentType="application/vnd.openxmlformats-officedocument.presentationml.notesSlide+xml"/>
  <Override PartName="/ppt/tags/tag436.xml" ContentType="application/vnd.openxmlformats-officedocument.presentationml.tags+xml"/>
  <Override PartName="/ppt/notesSlides/notesSlide42.xml" ContentType="application/vnd.openxmlformats-officedocument.presentationml.notesSlide+xml"/>
  <Override PartName="/ppt/tags/tag437.xml" ContentType="application/vnd.openxmlformats-officedocument.presentationml.tags+xml"/>
  <Override PartName="/ppt/notesSlides/notesSlide43.xml" ContentType="application/vnd.openxmlformats-officedocument.presentationml.notesSlide+xml"/>
  <Override PartName="/ppt/tags/tag438.xml" ContentType="application/vnd.openxmlformats-officedocument.presentationml.tags+xml"/>
  <Override PartName="/ppt/notesSlides/notesSlide44.xml" ContentType="application/vnd.openxmlformats-officedocument.presentationml.notesSlide+xml"/>
  <Override PartName="/ppt/tags/tag439.xml" ContentType="application/vnd.openxmlformats-officedocument.presentationml.tags+xml"/>
  <Override PartName="/ppt/notesSlides/notesSlide45.xml" ContentType="application/vnd.openxmlformats-officedocument.presentationml.notesSlide+xml"/>
  <Override PartName="/ppt/tags/tag440.xml" ContentType="application/vnd.openxmlformats-officedocument.presentationml.tags+xml"/>
  <Override PartName="/ppt/notesSlides/notesSlide46.xml" ContentType="application/vnd.openxmlformats-officedocument.presentationml.notesSlide+xml"/>
  <Override PartName="/ppt/tags/tag441.xml" ContentType="application/vnd.openxmlformats-officedocument.presentationml.tags+xml"/>
  <Override PartName="/ppt/notesSlides/notesSlide47.xml" ContentType="application/vnd.openxmlformats-officedocument.presentationml.notesSlide+xml"/>
  <Override PartName="/ppt/tags/tag442.xml" ContentType="application/vnd.openxmlformats-officedocument.presentationml.tags+xml"/>
  <Override PartName="/ppt/notesSlides/notesSlide48.xml" ContentType="application/vnd.openxmlformats-officedocument.presentationml.notesSlide+xml"/>
  <Override PartName="/ppt/tags/tag443.xml" ContentType="application/vnd.openxmlformats-officedocument.presentationml.tags+xml"/>
  <Override PartName="/ppt/notesSlides/notesSlide49.xml" ContentType="application/vnd.openxmlformats-officedocument.presentationml.notesSlide+xml"/>
  <Override PartName="/ppt/tags/tag444.xml" ContentType="application/vnd.openxmlformats-officedocument.presentationml.tags+xml"/>
  <Override PartName="/ppt/notesSlides/notesSlide50.xml" ContentType="application/vnd.openxmlformats-officedocument.presentationml.notesSlide+xml"/>
  <Override PartName="/ppt/tags/tag445.xml" ContentType="application/vnd.openxmlformats-officedocument.presentationml.tags+xml"/>
  <Override PartName="/ppt/notesSlides/notesSlide51.xml" ContentType="application/vnd.openxmlformats-officedocument.presentationml.notesSlide+xml"/>
  <Override PartName="/ppt/tags/tag446.xml" ContentType="application/vnd.openxmlformats-officedocument.presentationml.tags+xml"/>
  <Override PartName="/ppt/notesSlides/notesSlide52.xml" ContentType="application/vnd.openxmlformats-officedocument.presentationml.notesSlide+xml"/>
  <Override PartName="/ppt/tags/tag447.xml" ContentType="application/vnd.openxmlformats-officedocument.presentationml.tags+xml"/>
  <Override PartName="/ppt/notesSlides/notesSlide53.xml" ContentType="application/vnd.openxmlformats-officedocument.presentationml.notesSlide+xml"/>
  <Override PartName="/ppt/tags/tag448.xml" ContentType="application/vnd.openxmlformats-officedocument.presentationml.tags+xml"/>
  <Override PartName="/ppt/notesSlides/notesSlide54.xml" ContentType="application/vnd.openxmlformats-officedocument.presentationml.notesSlide+xml"/>
  <Override PartName="/ppt/tags/tag449.xml" ContentType="application/vnd.openxmlformats-officedocument.presentationml.tags+xml"/>
  <Override PartName="/ppt/notesSlides/notesSlide55.xml" ContentType="application/vnd.openxmlformats-officedocument.presentationml.notesSlide+xml"/>
  <Override PartName="/ppt/tags/tag450.xml" ContentType="application/vnd.openxmlformats-officedocument.presentationml.tags+xml"/>
  <Override PartName="/ppt/notesSlides/notesSlide56.xml" ContentType="application/vnd.openxmlformats-officedocument.presentationml.notesSlide+xml"/>
  <Override PartName="/ppt/tags/tag451.xml" ContentType="application/vnd.openxmlformats-officedocument.presentationml.tags+xml"/>
  <Override PartName="/ppt/notesSlides/notesSlide57.xml" ContentType="application/vnd.openxmlformats-officedocument.presentationml.notesSlide+xml"/>
  <Override PartName="/ppt/tags/tag452.xml" ContentType="application/vnd.openxmlformats-officedocument.presentationml.tags+xml"/>
  <Override PartName="/ppt/notesSlides/notesSlide58.xml" ContentType="application/vnd.openxmlformats-officedocument.presentationml.notesSlide+xml"/>
  <Override PartName="/ppt/tags/tag453.xml" ContentType="application/vnd.openxmlformats-officedocument.presentationml.tags+xml"/>
  <Override PartName="/ppt/notesSlides/notesSlide59.xml" ContentType="application/vnd.openxmlformats-officedocument.presentationml.notesSlide+xml"/>
  <Override PartName="/ppt/tags/tag454.xml" ContentType="application/vnd.openxmlformats-officedocument.presentationml.tags+xml"/>
  <Override PartName="/ppt/notesSlides/notesSlide60.xml" ContentType="application/vnd.openxmlformats-officedocument.presentationml.notesSlide+xml"/>
  <Override PartName="/ppt/tags/tag455.xml" ContentType="application/vnd.openxmlformats-officedocument.presentationml.tags+xml"/>
  <Override PartName="/ppt/notesSlides/notesSlide61.xml" ContentType="application/vnd.openxmlformats-officedocument.presentationml.notesSlide+xml"/>
  <Override PartName="/ppt/tags/tag456.xml" ContentType="application/vnd.openxmlformats-officedocument.presentationml.tags+xml"/>
  <Override PartName="/ppt/notesSlides/notesSlide62.xml" ContentType="application/vnd.openxmlformats-officedocument.presentationml.notesSlide+xml"/>
  <Override PartName="/ppt/tags/tag457.xml" ContentType="application/vnd.openxmlformats-officedocument.presentationml.tags+xml"/>
  <Override PartName="/ppt/notesSlides/notesSlide63.xml" ContentType="application/vnd.openxmlformats-officedocument.presentationml.notesSlide+xml"/>
  <Override PartName="/ppt/tags/tag458.xml" ContentType="application/vnd.openxmlformats-officedocument.presentationml.tags+xml"/>
  <Override PartName="/ppt/notesSlides/notesSlide64.xml" ContentType="application/vnd.openxmlformats-officedocument.presentationml.notesSlide+xml"/>
  <Override PartName="/ppt/tags/tag459.xml" ContentType="application/vnd.openxmlformats-officedocument.presentationml.tags+xml"/>
  <Override PartName="/ppt/notesSlides/notesSlide65.xml" ContentType="application/vnd.openxmlformats-officedocument.presentationml.notesSlide+xml"/>
  <Override PartName="/ppt/tags/tag460.xml" ContentType="application/vnd.openxmlformats-officedocument.presentationml.tags+xml"/>
  <Override PartName="/ppt/notesSlides/notesSlide66.xml" ContentType="application/vnd.openxmlformats-officedocument.presentationml.notesSlide+xml"/>
  <Override PartName="/ppt/tags/tag461.xml" ContentType="application/vnd.openxmlformats-officedocument.presentationml.tags+xml"/>
  <Override PartName="/ppt/notesSlides/notesSlide67.xml" ContentType="application/vnd.openxmlformats-officedocument.presentationml.notesSlide+xml"/>
  <Override PartName="/ppt/tags/tag462.xml" ContentType="application/vnd.openxmlformats-officedocument.presentationml.tags+xml"/>
  <Override PartName="/ppt/notesSlides/notesSlide68.xml" ContentType="application/vnd.openxmlformats-officedocument.presentationml.notesSlide+xml"/>
  <Override PartName="/ppt/tags/tag463.xml" ContentType="application/vnd.openxmlformats-officedocument.presentationml.tags+xml"/>
  <Override PartName="/ppt/notesSlides/notesSlide69.xml" ContentType="application/vnd.openxmlformats-officedocument.presentationml.notesSlide+xml"/>
  <Override PartName="/ppt/tags/tag464.xml" ContentType="application/vnd.openxmlformats-officedocument.presentationml.tags+xml"/>
  <Override PartName="/ppt/notesSlides/notesSlide70.xml" ContentType="application/vnd.openxmlformats-officedocument.presentationml.notesSlide+xml"/>
  <Override PartName="/ppt/tags/tag465.xml" ContentType="application/vnd.openxmlformats-officedocument.presentationml.tags+xml"/>
  <Override PartName="/ppt/notesSlides/notesSlide71.xml" ContentType="application/vnd.openxmlformats-officedocument.presentationml.notesSlide+xml"/>
  <Override PartName="/ppt/tags/tag466.xml" ContentType="application/vnd.openxmlformats-officedocument.presentationml.tags+xml"/>
  <Override PartName="/ppt/notesSlides/notesSlide72.xml" ContentType="application/vnd.openxmlformats-officedocument.presentationml.notesSlide+xml"/>
  <Override PartName="/ppt/tags/tag467.xml" ContentType="application/vnd.openxmlformats-officedocument.presentationml.tags+xml"/>
  <Override PartName="/ppt/notesSlides/notesSlide73.xml" ContentType="application/vnd.openxmlformats-officedocument.presentationml.notesSlide+xml"/>
  <Override PartName="/ppt/tags/tag468.xml" ContentType="application/vnd.openxmlformats-officedocument.presentationml.tags+xml"/>
  <Override PartName="/ppt/notesSlides/notesSlide74.xml" ContentType="application/vnd.openxmlformats-officedocument.presentationml.notesSlide+xml"/>
  <Override PartName="/ppt/tags/tag469.xml" ContentType="application/vnd.openxmlformats-officedocument.presentationml.tags+xml"/>
  <Override PartName="/ppt/notesSlides/notesSlide75.xml" ContentType="application/vnd.openxmlformats-officedocument.presentationml.notesSlide+xml"/>
  <Override PartName="/ppt/tags/tag470.xml" ContentType="application/vnd.openxmlformats-officedocument.presentationml.tags+xml"/>
  <Override PartName="/ppt/notesSlides/notesSlide76.xml" ContentType="application/vnd.openxmlformats-officedocument.presentationml.notesSlide+xml"/>
  <Override PartName="/ppt/tags/tag471.xml" ContentType="application/vnd.openxmlformats-officedocument.presentationml.tags+xml"/>
  <Override PartName="/ppt/notesSlides/notesSlide77.xml" ContentType="application/vnd.openxmlformats-officedocument.presentationml.notesSlide+xml"/>
  <Override PartName="/ppt/tags/tag472.xml" ContentType="application/vnd.openxmlformats-officedocument.presentationml.tags+xml"/>
  <Override PartName="/ppt/notesSlides/notesSlide78.xml" ContentType="application/vnd.openxmlformats-officedocument.presentationml.notesSlide+xml"/>
  <Override PartName="/ppt/tags/tag473.xml" ContentType="application/vnd.openxmlformats-officedocument.presentationml.tags+xml"/>
  <Override PartName="/ppt/notesSlides/notesSlide79.xml" ContentType="application/vnd.openxmlformats-officedocument.presentationml.notesSlide+xml"/>
  <Override PartName="/ppt/tags/tag474.xml" ContentType="application/vnd.openxmlformats-officedocument.presentationml.tags+xml"/>
  <Override PartName="/ppt/notesSlides/notesSlide80.xml" ContentType="application/vnd.openxmlformats-officedocument.presentationml.notesSlide+xml"/>
  <Override PartName="/ppt/tags/tag475.xml" ContentType="application/vnd.openxmlformats-officedocument.presentationml.tags+xml"/>
  <Override PartName="/ppt/notesSlides/notesSlide81.xml" ContentType="application/vnd.openxmlformats-officedocument.presentationml.notesSlide+xml"/>
  <Override PartName="/ppt/tags/tag476.xml" ContentType="application/vnd.openxmlformats-officedocument.presentationml.tags+xml"/>
  <Override PartName="/ppt/notesSlides/notesSlide82.xml" ContentType="application/vnd.openxmlformats-officedocument.presentationml.notesSlide+xml"/>
  <Override PartName="/ppt/tags/tag477.xml" ContentType="application/vnd.openxmlformats-officedocument.presentationml.tags+xml"/>
  <Override PartName="/ppt/notesSlides/notesSlide83.xml" ContentType="application/vnd.openxmlformats-officedocument.presentationml.notesSlide+xml"/>
  <Override PartName="/ppt/tags/tag478.xml" ContentType="application/vnd.openxmlformats-officedocument.presentationml.tags+xml"/>
  <Override PartName="/ppt/notesSlides/notesSlide84.xml" ContentType="application/vnd.openxmlformats-officedocument.presentationml.notesSlide+xml"/>
  <Override PartName="/ppt/tags/tag479.xml" ContentType="application/vnd.openxmlformats-officedocument.presentationml.tags+xml"/>
  <Override PartName="/ppt/notesSlides/notesSlide85.xml" ContentType="application/vnd.openxmlformats-officedocument.presentationml.notesSlide+xml"/>
  <Override PartName="/ppt/tags/tag480.xml" ContentType="application/vnd.openxmlformats-officedocument.presentationml.tags+xml"/>
  <Override PartName="/ppt/notesSlides/notesSlide86.xml" ContentType="application/vnd.openxmlformats-officedocument.presentationml.notesSlide+xml"/>
  <Override PartName="/ppt/tags/tag481.xml" ContentType="application/vnd.openxmlformats-officedocument.presentationml.tags+xml"/>
  <Override PartName="/ppt/notesSlides/notesSlide87.xml" ContentType="application/vnd.openxmlformats-officedocument.presentationml.notesSlide+xml"/>
  <Override PartName="/ppt/tags/tag482.xml" ContentType="application/vnd.openxmlformats-officedocument.presentationml.tags+xml"/>
  <Override PartName="/ppt/notesSlides/notesSlide88.xml" ContentType="application/vnd.openxmlformats-officedocument.presentationml.notesSlide+xml"/>
  <Override PartName="/ppt/tags/tag483.xml" ContentType="application/vnd.openxmlformats-officedocument.presentationml.tags+xml"/>
  <Override PartName="/ppt/notesSlides/notesSlide89.xml" ContentType="application/vnd.openxmlformats-officedocument.presentationml.notesSlide+xml"/>
  <Override PartName="/ppt/tags/tag484.xml" ContentType="application/vnd.openxmlformats-officedocument.presentationml.tags+xml"/>
  <Override PartName="/ppt/notesSlides/notesSlide90.xml" ContentType="application/vnd.openxmlformats-officedocument.presentationml.notesSlide+xml"/>
  <Override PartName="/ppt/tags/tag485.xml" ContentType="application/vnd.openxmlformats-officedocument.presentationml.tags+xml"/>
  <Override PartName="/ppt/notesSlides/notesSlide91.xml" ContentType="application/vnd.openxmlformats-officedocument.presentationml.notesSlide+xml"/>
  <Override PartName="/ppt/tags/tag486.xml" ContentType="application/vnd.openxmlformats-officedocument.presentationml.tags+xml"/>
  <Override PartName="/ppt/notesSlides/notesSlide92.xml" ContentType="application/vnd.openxmlformats-officedocument.presentationml.notesSlide+xml"/>
  <Override PartName="/ppt/tags/tag487.xml" ContentType="application/vnd.openxmlformats-officedocument.presentationml.tags+xml"/>
  <Override PartName="/ppt/charts/chart368.xml" ContentType="application/vnd.openxmlformats-officedocument.drawingml.chart+xml"/>
  <Override PartName="/ppt/tags/tag488.xml" ContentType="application/vnd.openxmlformats-officedocument.presentationml.tags+xml"/>
  <Override PartName="/ppt/charts/chart369.xml" ContentType="application/vnd.openxmlformats-officedocument.drawingml.chart+xml"/>
  <Override PartName="/ppt/tags/tag489.xml" ContentType="application/vnd.openxmlformats-officedocument.presentationml.tags+xml"/>
  <Override PartName="/ppt/charts/chart370.xml" ContentType="application/vnd.openxmlformats-officedocument.drawingml.chart+xml"/>
  <Override PartName="/ppt/tags/tag490.xml" ContentType="application/vnd.openxmlformats-officedocument.presentationml.tags+xml"/>
  <Override PartName="/ppt/charts/chart371.xml" ContentType="application/vnd.openxmlformats-officedocument.drawingml.chart+xml"/>
  <Override PartName="/ppt/tags/tag491.xml" ContentType="application/vnd.openxmlformats-officedocument.presentationml.tags+xml"/>
  <Override PartName="/ppt/charts/chart372.xml" ContentType="application/vnd.openxmlformats-officedocument.drawingml.chart+xml"/>
  <Override PartName="/ppt/tags/tag492.xml" ContentType="application/vnd.openxmlformats-officedocument.presentationml.tags+xml"/>
  <Override PartName="/ppt/charts/chart373.xml" ContentType="application/vnd.openxmlformats-officedocument.drawingml.chart+xml"/>
  <Override PartName="/ppt/tags/tag493.xml" ContentType="application/vnd.openxmlformats-officedocument.presentationml.tags+xml"/>
  <Override PartName="/ppt/charts/chart374.xml" ContentType="application/vnd.openxmlformats-officedocument.drawingml.chart+xml"/>
  <Override PartName="/ppt/tags/tag494.xml" ContentType="application/vnd.openxmlformats-officedocument.presentationml.tags+xml"/>
  <Override PartName="/ppt/charts/chart375.xml" ContentType="application/vnd.openxmlformats-officedocument.drawingml.chart+xml"/>
  <Override PartName="/ppt/tags/tag495.xml" ContentType="application/vnd.openxmlformats-officedocument.presentationml.tags+xml"/>
  <Override PartName="/ppt/charts/chart376.xml" ContentType="application/vnd.openxmlformats-officedocument.drawingml.chart+xml"/>
  <Override PartName="/ppt/tags/tag496.xml" ContentType="application/vnd.openxmlformats-officedocument.presentationml.tags+xml"/>
  <Override PartName="/ppt/charts/chart377.xml" ContentType="application/vnd.openxmlformats-officedocument.drawingml.chart+xml"/>
  <Override PartName="/ppt/tags/tag497.xml" ContentType="application/vnd.openxmlformats-officedocument.presentationml.tags+xml"/>
  <Override PartName="/ppt/charts/chart378.xml" ContentType="application/vnd.openxmlformats-officedocument.drawingml.chart+xml"/>
  <Override PartName="/ppt/tags/tag498.xml" ContentType="application/vnd.openxmlformats-officedocument.presentationml.tags+xml"/>
  <Override PartName="/ppt/charts/chart379.xml" ContentType="application/vnd.openxmlformats-officedocument.drawingml.chart+xml"/>
  <Override PartName="/ppt/tags/tag499.xml" ContentType="application/vnd.openxmlformats-officedocument.presentationml.tags+xml"/>
  <Override PartName="/ppt/charts/chart380.xml" ContentType="application/vnd.openxmlformats-officedocument.drawingml.chart+xml"/>
  <Override PartName="/ppt/tags/tag500.xml" ContentType="application/vnd.openxmlformats-officedocument.presentationml.tags+xml"/>
  <Override PartName="/ppt/charts/chart381.xml" ContentType="application/vnd.openxmlformats-officedocument.drawingml.chart+xml"/>
  <Override PartName="/ppt/tags/tag501.xml" ContentType="application/vnd.openxmlformats-officedocument.presentationml.tags+xml"/>
  <Override PartName="/ppt/charts/chart382.xml" ContentType="application/vnd.openxmlformats-officedocument.drawingml.chart+xml"/>
  <Override PartName="/ppt/tags/tag502.xml" ContentType="application/vnd.openxmlformats-officedocument.presentationml.tags+xml"/>
  <Override PartName="/ppt/charts/chart383.xml" ContentType="application/vnd.openxmlformats-officedocument.drawingml.chart+xml"/>
  <Override PartName="/ppt/tags/tag503.xml" ContentType="application/vnd.openxmlformats-officedocument.presentationml.tags+xml"/>
  <Override PartName="/ppt/charts/chart384.xml" ContentType="application/vnd.openxmlformats-officedocument.drawingml.chart+xml"/>
  <Override PartName="/ppt/tags/tag504.xml" ContentType="application/vnd.openxmlformats-officedocument.presentationml.tags+xml"/>
  <Override PartName="/ppt/charts/chart385.xml" ContentType="application/vnd.openxmlformats-officedocument.drawingml.chart+xml"/>
  <Override PartName="/ppt/tags/tag505.xml" ContentType="application/vnd.openxmlformats-officedocument.presentationml.tags+xml"/>
  <Override PartName="/ppt/charts/chart386.xml" ContentType="application/vnd.openxmlformats-officedocument.drawingml.chart+xml"/>
  <Override PartName="/ppt/tags/tag506.xml" ContentType="application/vnd.openxmlformats-officedocument.presentationml.tags+xml"/>
  <Override PartName="/ppt/charts/chart387.xml" ContentType="application/vnd.openxmlformats-officedocument.drawingml.chart+xml"/>
  <Override PartName="/ppt/tags/tag507.xml" ContentType="application/vnd.openxmlformats-officedocument.presentationml.tags+xml"/>
  <Override PartName="/ppt/charts/chart388.xml" ContentType="application/vnd.openxmlformats-officedocument.drawingml.chart+xml"/>
  <Override PartName="/ppt/tags/tag508.xml" ContentType="application/vnd.openxmlformats-officedocument.presentationml.tags+xml"/>
  <Override PartName="/ppt/charts/chart389.xml" ContentType="application/vnd.openxmlformats-officedocument.drawingml.chart+xml"/>
  <Override PartName="/ppt/tags/tag509.xml" ContentType="application/vnd.openxmlformats-officedocument.presentationml.tags+xml"/>
  <Override PartName="/ppt/charts/chart390.xml" ContentType="application/vnd.openxmlformats-officedocument.drawingml.chart+xml"/>
  <Override PartName="/ppt/tags/tag510.xml" ContentType="application/vnd.openxmlformats-officedocument.presentationml.tags+xml"/>
  <Override PartName="/ppt/charts/chart391.xml" ContentType="application/vnd.openxmlformats-officedocument.drawingml.chart+xml"/>
  <Override PartName="/ppt/tags/tag511.xml" ContentType="application/vnd.openxmlformats-officedocument.presentationml.tags+xml"/>
  <Override PartName="/ppt/charts/chart392.xml" ContentType="application/vnd.openxmlformats-officedocument.drawingml.chart+xml"/>
  <Override PartName="/ppt/tags/tag512.xml" ContentType="application/vnd.openxmlformats-officedocument.presentationml.tags+xml"/>
  <Override PartName="/ppt/charts/chart393.xml" ContentType="application/vnd.openxmlformats-officedocument.drawingml.chart+xml"/>
  <Override PartName="/ppt/tags/tag513.xml" ContentType="application/vnd.openxmlformats-officedocument.presentationml.tags+xml"/>
  <Override PartName="/ppt/charts/chart394.xml" ContentType="application/vnd.openxmlformats-officedocument.drawingml.chart+xml"/>
  <Override PartName="/ppt/tags/tag514.xml" ContentType="application/vnd.openxmlformats-officedocument.presentationml.tags+xml"/>
  <Override PartName="/ppt/charts/chart395.xml" ContentType="application/vnd.openxmlformats-officedocument.drawingml.chart+xml"/>
  <Override PartName="/ppt/tags/tag515.xml" ContentType="application/vnd.openxmlformats-officedocument.presentationml.tags+xml"/>
  <Override PartName="/ppt/charts/chart396.xml" ContentType="application/vnd.openxmlformats-officedocument.drawingml.chart+xml"/>
  <Override PartName="/ppt/tags/tag516.xml" ContentType="application/vnd.openxmlformats-officedocument.presentationml.tags+xml"/>
  <Override PartName="/ppt/charts/chart397.xml" ContentType="application/vnd.openxmlformats-officedocument.drawingml.chart+xml"/>
  <Override PartName="/ppt/tags/tag517.xml" ContentType="application/vnd.openxmlformats-officedocument.presentationml.tags+xml"/>
  <Override PartName="/ppt/charts/chart398.xml" ContentType="application/vnd.openxmlformats-officedocument.drawingml.chart+xml"/>
  <Override PartName="/ppt/tags/tag518.xml" ContentType="application/vnd.openxmlformats-officedocument.presentationml.tags+xml"/>
  <Override PartName="/ppt/charts/chart399.xml" ContentType="application/vnd.openxmlformats-officedocument.drawingml.chart+xml"/>
  <Override PartName="/ppt/tags/tag519.xml" ContentType="application/vnd.openxmlformats-officedocument.presentationml.tags+xml"/>
  <Override PartName="/ppt/charts/chart400.xml" ContentType="application/vnd.openxmlformats-officedocument.drawingml.chart+xml"/>
  <Override PartName="/ppt/tags/tag520.xml" ContentType="application/vnd.openxmlformats-officedocument.presentationml.tags+xml"/>
  <Override PartName="/ppt/charts/chart401.xml" ContentType="application/vnd.openxmlformats-officedocument.drawingml.chart+xml"/>
  <Override PartName="/ppt/tags/tag521.xml" ContentType="application/vnd.openxmlformats-officedocument.presentationml.tags+xml"/>
  <Override PartName="/ppt/charts/chart402.xml" ContentType="application/vnd.openxmlformats-officedocument.drawingml.chart+xml"/>
  <Override PartName="/ppt/tags/tag522.xml" ContentType="application/vnd.openxmlformats-officedocument.presentationml.tags+xml"/>
  <Override PartName="/ppt/charts/chart403.xml" ContentType="application/vnd.openxmlformats-officedocument.drawingml.chart+xml"/>
  <Override PartName="/ppt/tags/tag523.xml" ContentType="application/vnd.openxmlformats-officedocument.presentationml.tags+xml"/>
  <Override PartName="/ppt/charts/chart404.xml" ContentType="application/vnd.openxmlformats-officedocument.drawingml.chart+xml"/>
  <Override PartName="/ppt/tags/tag524.xml" ContentType="application/vnd.openxmlformats-officedocument.presentationml.tags+xml"/>
  <Override PartName="/ppt/charts/chart405.xml" ContentType="application/vnd.openxmlformats-officedocument.drawingml.chart+xml"/>
  <Override PartName="/ppt/tags/tag525.xml" ContentType="application/vnd.openxmlformats-officedocument.presentationml.tags+xml"/>
  <Override PartName="/ppt/charts/chart406.xml" ContentType="application/vnd.openxmlformats-officedocument.drawingml.chart+xml"/>
  <Override PartName="/ppt/tags/tag526.xml" ContentType="application/vnd.openxmlformats-officedocument.presentationml.tags+xml"/>
  <Override PartName="/ppt/charts/chart407.xml" ContentType="application/vnd.openxmlformats-officedocument.drawingml.chart+xml"/>
  <Override PartName="/ppt/tags/tag527.xml" ContentType="application/vnd.openxmlformats-officedocument.presentationml.tags+xml"/>
  <Override PartName="/ppt/charts/chart408.xml" ContentType="application/vnd.openxmlformats-officedocument.drawingml.chart+xml"/>
  <Override PartName="/ppt/tags/tag528.xml" ContentType="application/vnd.openxmlformats-officedocument.presentationml.tags+xml"/>
  <Override PartName="/ppt/charts/chart409.xml" ContentType="application/vnd.openxmlformats-officedocument.drawingml.chart+xml"/>
  <Override PartName="/ppt/tags/tag529.xml" ContentType="application/vnd.openxmlformats-officedocument.presentationml.tags+xml"/>
  <Override PartName="/ppt/charts/chart410.xml" ContentType="application/vnd.openxmlformats-officedocument.drawingml.chart+xml"/>
  <Override PartName="/ppt/tags/tag530.xml" ContentType="application/vnd.openxmlformats-officedocument.presentationml.tags+xml"/>
  <Override PartName="/ppt/charts/chart411.xml" ContentType="application/vnd.openxmlformats-officedocument.drawingml.chart+xml"/>
  <Override PartName="/ppt/tags/tag531.xml" ContentType="application/vnd.openxmlformats-officedocument.presentationml.tags+xml"/>
  <Override PartName="/ppt/charts/chart412.xml" ContentType="application/vnd.openxmlformats-officedocument.drawingml.chart+xml"/>
  <Override PartName="/ppt/tags/tag532.xml" ContentType="application/vnd.openxmlformats-officedocument.presentationml.tags+xml"/>
  <Override PartName="/ppt/charts/chart413.xml" ContentType="application/vnd.openxmlformats-officedocument.drawingml.chart+xml"/>
  <Override PartName="/ppt/tags/tag533.xml" ContentType="application/vnd.openxmlformats-officedocument.presentationml.tags+xml"/>
  <Override PartName="/ppt/charts/chart414.xml" ContentType="application/vnd.openxmlformats-officedocument.drawingml.chart+xml"/>
  <Override PartName="/ppt/tags/tag534.xml" ContentType="application/vnd.openxmlformats-officedocument.presentationml.tags+xml"/>
  <Override PartName="/ppt/charts/chart415.xml" ContentType="application/vnd.openxmlformats-officedocument.drawingml.chart+xml"/>
  <Override PartName="/ppt/tags/tag535.xml" ContentType="application/vnd.openxmlformats-officedocument.presentationml.tags+xml"/>
  <Override PartName="/ppt/charts/chart416.xml" ContentType="application/vnd.openxmlformats-officedocument.drawingml.chart+xml"/>
  <Override PartName="/ppt/tags/tag536.xml" ContentType="application/vnd.openxmlformats-officedocument.presentationml.tags+xml"/>
  <Override PartName="/ppt/charts/chart417.xml" ContentType="application/vnd.openxmlformats-officedocument.drawingml.chart+xml"/>
  <Override PartName="/ppt/tags/tag537.xml" ContentType="application/vnd.openxmlformats-officedocument.presentationml.tags+xml"/>
  <Override PartName="/ppt/charts/chart418.xml" ContentType="application/vnd.openxmlformats-officedocument.drawingml.chart+xml"/>
  <Override PartName="/ppt/tags/tag538.xml" ContentType="application/vnd.openxmlformats-officedocument.presentationml.tags+xml"/>
  <Override PartName="/ppt/charts/chart419.xml" ContentType="application/vnd.openxmlformats-officedocument.drawingml.chart+xml"/>
  <Override PartName="/ppt/tags/tag539.xml" ContentType="application/vnd.openxmlformats-officedocument.presentationml.tags+xml"/>
  <Override PartName="/ppt/charts/chart420.xml" ContentType="application/vnd.openxmlformats-officedocument.drawingml.chart+xml"/>
  <Override PartName="/ppt/tags/tag540.xml" ContentType="application/vnd.openxmlformats-officedocument.presentationml.tags+xml"/>
  <Override PartName="/ppt/charts/chart421.xml" ContentType="application/vnd.openxmlformats-officedocument.drawingml.chart+xml"/>
  <Override PartName="/ppt/tags/tag541.xml" ContentType="application/vnd.openxmlformats-officedocument.presentationml.tags+xml"/>
  <Override PartName="/ppt/charts/chart422.xml" ContentType="application/vnd.openxmlformats-officedocument.drawingml.chart+xml"/>
  <Override PartName="/ppt/tags/tag542.xml" ContentType="application/vnd.openxmlformats-officedocument.presentationml.tags+xml"/>
  <Override PartName="/ppt/charts/chart423.xml" ContentType="application/vnd.openxmlformats-officedocument.drawingml.chart+xml"/>
  <Override PartName="/ppt/tags/tag543.xml" ContentType="application/vnd.openxmlformats-officedocument.presentationml.tags+xml"/>
  <Override PartName="/ppt/charts/chart424.xml" ContentType="application/vnd.openxmlformats-officedocument.drawingml.chart+xml"/>
  <Override PartName="/ppt/tags/tag544.xml" ContentType="application/vnd.openxmlformats-officedocument.presentationml.tags+xml"/>
  <Override PartName="/ppt/charts/chart425.xml" ContentType="application/vnd.openxmlformats-officedocument.drawingml.chart+xml"/>
  <Override PartName="/ppt/tags/tag545.xml" ContentType="application/vnd.openxmlformats-officedocument.presentationml.tags+xml"/>
  <Override PartName="/ppt/charts/chart426.xml" ContentType="application/vnd.openxmlformats-officedocument.drawingml.chart+xml"/>
  <Override PartName="/ppt/tags/tag546.xml" ContentType="application/vnd.openxmlformats-officedocument.presentationml.tags+xml"/>
  <Override PartName="/ppt/charts/chart427.xml" ContentType="application/vnd.openxmlformats-officedocument.drawingml.chart+xml"/>
  <Override PartName="/ppt/tags/tag547.xml" ContentType="application/vnd.openxmlformats-officedocument.presentationml.tags+xml"/>
  <Override PartName="/ppt/charts/chart428.xml" ContentType="application/vnd.openxmlformats-officedocument.drawingml.chart+xml"/>
  <Override PartName="/ppt/tags/tag548.xml" ContentType="application/vnd.openxmlformats-officedocument.presentationml.tags+xml"/>
  <Override PartName="/ppt/charts/chart429.xml" ContentType="application/vnd.openxmlformats-officedocument.drawingml.chart+xml"/>
  <Override PartName="/ppt/tags/tag549.xml" ContentType="application/vnd.openxmlformats-officedocument.presentationml.tags+xml"/>
  <Override PartName="/ppt/charts/chart430.xml" ContentType="application/vnd.openxmlformats-officedocument.drawingml.chart+xml"/>
  <Override PartName="/ppt/tags/tag550.xml" ContentType="application/vnd.openxmlformats-officedocument.presentationml.tags+xml"/>
  <Override PartName="/ppt/charts/chart431.xml" ContentType="application/vnd.openxmlformats-officedocument.drawingml.chart+xml"/>
  <Override PartName="/ppt/tags/tag551.xml" ContentType="application/vnd.openxmlformats-officedocument.presentationml.tags+xml"/>
  <Override PartName="/ppt/charts/chart432.xml" ContentType="application/vnd.openxmlformats-officedocument.drawingml.chart+xml"/>
  <Override PartName="/ppt/tags/tag552.xml" ContentType="application/vnd.openxmlformats-officedocument.presentationml.tags+xml"/>
  <Override PartName="/ppt/charts/chart433.xml" ContentType="application/vnd.openxmlformats-officedocument.drawingml.chart+xml"/>
  <Override PartName="/ppt/tags/tag553.xml" ContentType="application/vnd.openxmlformats-officedocument.presentationml.tags+xml"/>
  <Override PartName="/ppt/charts/chart434.xml" ContentType="application/vnd.openxmlformats-officedocument.drawingml.chart+xml"/>
  <Override PartName="/ppt/tags/tag554.xml" ContentType="application/vnd.openxmlformats-officedocument.presentationml.tags+xml"/>
  <Override PartName="/ppt/charts/chart435.xml" ContentType="application/vnd.openxmlformats-officedocument.drawingml.chart+xml"/>
  <Override PartName="/ppt/tags/tag555.xml" ContentType="application/vnd.openxmlformats-officedocument.presentationml.tags+xml"/>
  <Override PartName="/ppt/charts/chart436.xml" ContentType="application/vnd.openxmlformats-officedocument.drawingml.chart+xml"/>
  <Override PartName="/ppt/tags/tag556.xml" ContentType="application/vnd.openxmlformats-officedocument.presentationml.tags+xml"/>
  <Override PartName="/ppt/charts/chart437.xml" ContentType="application/vnd.openxmlformats-officedocument.drawingml.chart+xml"/>
  <Override PartName="/ppt/tags/tag557.xml" ContentType="application/vnd.openxmlformats-officedocument.presentationml.tags+xml"/>
  <Override PartName="/ppt/charts/chart438.xml" ContentType="application/vnd.openxmlformats-officedocument.drawingml.chart+xml"/>
  <Override PartName="/ppt/tags/tag558.xml" ContentType="application/vnd.openxmlformats-officedocument.presentationml.tags+xml"/>
  <Override PartName="/ppt/charts/chart439.xml" ContentType="application/vnd.openxmlformats-officedocument.drawingml.chart+xml"/>
  <Override PartName="/ppt/tags/tag559.xml" ContentType="application/vnd.openxmlformats-officedocument.presentationml.tags+xml"/>
  <Override PartName="/ppt/charts/chart440.xml" ContentType="application/vnd.openxmlformats-officedocument.drawingml.chart+xml"/>
  <Override PartName="/ppt/tags/tag560.xml" ContentType="application/vnd.openxmlformats-officedocument.presentationml.tags+xml"/>
  <Override PartName="/ppt/charts/chart441.xml" ContentType="application/vnd.openxmlformats-officedocument.drawingml.chart+xml"/>
  <Override PartName="/ppt/tags/tag561.xml" ContentType="application/vnd.openxmlformats-officedocument.presentationml.tags+xml"/>
  <Override PartName="/ppt/charts/chart442.xml" ContentType="application/vnd.openxmlformats-officedocument.drawingml.chart+xml"/>
  <Override PartName="/ppt/tags/tag562.xml" ContentType="application/vnd.openxmlformats-officedocument.presentationml.tags+xml"/>
  <Override PartName="/ppt/charts/chart443.xml" ContentType="application/vnd.openxmlformats-officedocument.drawingml.chart+xml"/>
  <Override PartName="/ppt/tags/tag563.xml" ContentType="application/vnd.openxmlformats-officedocument.presentationml.tags+xml"/>
  <Override PartName="/ppt/charts/chart444.xml" ContentType="application/vnd.openxmlformats-officedocument.drawingml.chart+xml"/>
  <Override PartName="/ppt/tags/tag564.xml" ContentType="application/vnd.openxmlformats-officedocument.presentationml.tags+xml"/>
  <Override PartName="/ppt/charts/chart445.xml" ContentType="application/vnd.openxmlformats-officedocument.drawingml.chart+xml"/>
  <Override PartName="/ppt/tags/tag565.xml" ContentType="application/vnd.openxmlformats-officedocument.presentationml.tags+xml"/>
  <Override PartName="/ppt/charts/chart446.xml" ContentType="application/vnd.openxmlformats-officedocument.drawingml.chart+xml"/>
  <Override PartName="/ppt/tags/tag566.xml" ContentType="application/vnd.openxmlformats-officedocument.presentationml.tags+xml"/>
  <Override PartName="/ppt/charts/chart447.xml" ContentType="application/vnd.openxmlformats-officedocument.drawingml.chart+xml"/>
  <Override PartName="/ppt/tags/tag567.xml" ContentType="application/vnd.openxmlformats-officedocument.presentationml.tags+xml"/>
  <Override PartName="/ppt/charts/chart448.xml" ContentType="application/vnd.openxmlformats-officedocument.drawingml.chart+xml"/>
  <Override PartName="/ppt/tags/tag568.xml" ContentType="application/vnd.openxmlformats-officedocument.presentationml.tags+xml"/>
  <Override PartName="/ppt/charts/chart449.xml" ContentType="application/vnd.openxmlformats-officedocument.drawingml.chart+xml"/>
  <Override PartName="/ppt/tags/tag569.xml" ContentType="application/vnd.openxmlformats-officedocument.presentationml.tags+xml"/>
  <Override PartName="/ppt/charts/chart450.xml" ContentType="application/vnd.openxmlformats-officedocument.drawingml.chart+xml"/>
  <Override PartName="/ppt/tags/tag570.xml" ContentType="application/vnd.openxmlformats-officedocument.presentationml.tags+xml"/>
  <Override PartName="/ppt/charts/chart451.xml" ContentType="application/vnd.openxmlformats-officedocument.drawingml.chart+xml"/>
  <Override PartName="/ppt/tags/tag571.xml" ContentType="application/vnd.openxmlformats-officedocument.presentationml.tags+xml"/>
  <Override PartName="/ppt/charts/chart452.xml" ContentType="application/vnd.openxmlformats-officedocument.drawingml.chart+xml"/>
  <Override PartName="/ppt/tags/tag572.xml" ContentType="application/vnd.openxmlformats-officedocument.presentationml.tags+xml"/>
  <Override PartName="/ppt/charts/chart453.xml" ContentType="application/vnd.openxmlformats-officedocument.drawingml.chart+xml"/>
  <Override PartName="/ppt/tags/tag573.xml" ContentType="application/vnd.openxmlformats-officedocument.presentationml.tags+xml"/>
  <Override PartName="/ppt/charts/chart454.xml" ContentType="application/vnd.openxmlformats-officedocument.drawingml.chart+xml"/>
  <Override PartName="/ppt/tags/tag574.xml" ContentType="application/vnd.openxmlformats-officedocument.presentationml.tags+xml"/>
  <Override PartName="/ppt/charts/chart455.xml" ContentType="application/vnd.openxmlformats-officedocument.drawingml.chart+xml"/>
  <Override PartName="/ppt/tags/tag575.xml" ContentType="application/vnd.openxmlformats-officedocument.presentationml.tags+xml"/>
  <Override PartName="/ppt/charts/chart456.xml" ContentType="application/vnd.openxmlformats-officedocument.drawingml.chart+xml"/>
  <Override PartName="/ppt/tags/tag576.xml" ContentType="application/vnd.openxmlformats-officedocument.presentationml.tags+xml"/>
  <Override PartName="/ppt/charts/chart457.xml" ContentType="application/vnd.openxmlformats-officedocument.drawingml.chart+xml"/>
  <Override PartName="/ppt/tags/tag577.xml" ContentType="application/vnd.openxmlformats-officedocument.presentationml.tags+xml"/>
  <Override PartName="/ppt/charts/chart458.xml" ContentType="application/vnd.openxmlformats-officedocument.drawingml.chart+xml"/>
  <Override PartName="/ppt/tags/tag578.xml" ContentType="application/vnd.openxmlformats-officedocument.presentationml.tags+xml"/>
  <Override PartName="/ppt/charts/chart459.xml" ContentType="application/vnd.openxmlformats-officedocument.drawingml.chart+xml"/>
  <Override PartName="/ppt/tags/tag579.xml" ContentType="application/vnd.openxmlformats-officedocument.presentationml.tags+xml"/>
  <Override PartName="/ppt/charts/chart460.xml" ContentType="application/vnd.openxmlformats-officedocument.drawingml.chart+xml"/>
  <Override PartName="/ppt/tags/tag580.xml" ContentType="application/vnd.openxmlformats-officedocument.presentationml.tags+xml"/>
  <Override PartName="/ppt/charts/chart461.xml" ContentType="application/vnd.openxmlformats-officedocument.drawingml.chart+xml"/>
  <Override PartName="/ppt/tags/tag581.xml" ContentType="application/vnd.openxmlformats-officedocument.presentationml.tags+xml"/>
  <Override PartName="/ppt/charts/chart462.xml" ContentType="application/vnd.openxmlformats-officedocument.drawingml.chart+xml"/>
  <Override PartName="/ppt/tags/tag582.xml" ContentType="application/vnd.openxmlformats-officedocument.presentationml.tags+xml"/>
  <Override PartName="/ppt/charts/chart463.xml" ContentType="application/vnd.openxmlformats-officedocument.drawingml.chart+xml"/>
  <Override PartName="/ppt/tags/tag583.xml" ContentType="application/vnd.openxmlformats-officedocument.presentationml.tags+xml"/>
  <Override PartName="/ppt/charts/chart464.xml" ContentType="application/vnd.openxmlformats-officedocument.drawingml.chart+xml"/>
  <Override PartName="/ppt/tags/tag584.xml" ContentType="application/vnd.openxmlformats-officedocument.presentationml.tags+xml"/>
  <Override PartName="/ppt/charts/chart465.xml" ContentType="application/vnd.openxmlformats-officedocument.drawingml.chart+xml"/>
  <Override PartName="/ppt/tags/tag585.xml" ContentType="application/vnd.openxmlformats-officedocument.presentationml.tags+xml"/>
  <Override PartName="/ppt/charts/chart466.xml" ContentType="application/vnd.openxmlformats-officedocument.drawingml.chart+xml"/>
  <Override PartName="/ppt/tags/tag586.xml" ContentType="application/vnd.openxmlformats-officedocument.presentationml.tags+xml"/>
  <Override PartName="/ppt/charts/chart467.xml" ContentType="application/vnd.openxmlformats-officedocument.drawingml.chart+xml"/>
  <Override PartName="/ppt/tags/tag587.xml" ContentType="application/vnd.openxmlformats-officedocument.presentationml.tags+xml"/>
  <Override PartName="/ppt/charts/chart468.xml" ContentType="application/vnd.openxmlformats-officedocument.drawingml.chart+xml"/>
  <Override PartName="/ppt/tags/tag588.xml" ContentType="application/vnd.openxmlformats-officedocument.presentationml.tags+xml"/>
  <Override PartName="/ppt/charts/chart469.xml" ContentType="application/vnd.openxmlformats-officedocument.drawingml.chart+xml"/>
  <Override PartName="/ppt/tags/tag589.xml" ContentType="application/vnd.openxmlformats-officedocument.presentationml.tags+xml"/>
  <Override PartName="/ppt/charts/chart470.xml" ContentType="application/vnd.openxmlformats-officedocument.drawingml.chart+xml"/>
  <Override PartName="/ppt/tags/tag590.xml" ContentType="application/vnd.openxmlformats-officedocument.presentationml.tags+xml"/>
  <Override PartName="/ppt/charts/chart471.xml" ContentType="application/vnd.openxmlformats-officedocument.drawingml.chart+xml"/>
  <Override PartName="/ppt/tags/tag591.xml" ContentType="application/vnd.openxmlformats-officedocument.presentationml.tags+xml"/>
  <Override PartName="/ppt/charts/chart472.xml" ContentType="application/vnd.openxmlformats-officedocument.drawingml.chart+xml"/>
  <Override PartName="/ppt/tags/tag592.xml" ContentType="application/vnd.openxmlformats-officedocument.presentationml.tags+xml"/>
  <Override PartName="/ppt/charts/chart473.xml" ContentType="application/vnd.openxmlformats-officedocument.drawingml.chart+xml"/>
  <Override PartName="/ppt/tags/tag593.xml" ContentType="application/vnd.openxmlformats-officedocument.presentationml.tags+xml"/>
  <Override PartName="/ppt/charts/chart474.xml" ContentType="application/vnd.openxmlformats-officedocument.drawingml.chart+xml"/>
  <Override PartName="/ppt/tags/tag594.xml" ContentType="application/vnd.openxmlformats-officedocument.presentationml.tags+xml"/>
  <Override PartName="/ppt/charts/chart475.xml" ContentType="application/vnd.openxmlformats-officedocument.drawingml.chart+xml"/>
  <Override PartName="/ppt/tags/tag595.xml" ContentType="application/vnd.openxmlformats-officedocument.presentationml.tags+xml"/>
  <Override PartName="/ppt/charts/chart476.xml" ContentType="application/vnd.openxmlformats-officedocument.drawingml.chart+xml"/>
  <Override PartName="/ppt/tags/tag596.xml" ContentType="application/vnd.openxmlformats-officedocument.presentationml.tags+xml"/>
  <Override PartName="/ppt/charts/chart477.xml" ContentType="application/vnd.openxmlformats-officedocument.drawingml.chart+xml"/>
  <Override PartName="/ppt/tags/tag597.xml" ContentType="application/vnd.openxmlformats-officedocument.presentationml.tags+xml"/>
  <Override PartName="/ppt/charts/chart478.xml" ContentType="application/vnd.openxmlformats-officedocument.drawingml.chart+xml"/>
  <Override PartName="/ppt/tags/tag598.xml" ContentType="application/vnd.openxmlformats-officedocument.presentationml.tags+xml"/>
  <Override PartName="/ppt/charts/chart479.xml" ContentType="application/vnd.openxmlformats-officedocument.drawingml.chart+xml"/>
  <Override PartName="/ppt/tags/tag599.xml" ContentType="application/vnd.openxmlformats-officedocument.presentationml.tags+xml"/>
  <Override PartName="/ppt/charts/chart480.xml" ContentType="application/vnd.openxmlformats-officedocument.drawingml.chart+xml"/>
  <Override PartName="/ppt/tags/tag600.xml" ContentType="application/vnd.openxmlformats-officedocument.presentationml.tags+xml"/>
  <Override PartName="/ppt/charts/chart481.xml" ContentType="application/vnd.openxmlformats-officedocument.drawingml.chart+xml"/>
  <Override PartName="/ppt/tags/tag601.xml" ContentType="application/vnd.openxmlformats-officedocument.presentationml.tags+xml"/>
  <Override PartName="/ppt/charts/chart482.xml" ContentType="application/vnd.openxmlformats-officedocument.drawingml.chart+xml"/>
  <Override PartName="/ppt/tags/tag602.xml" ContentType="application/vnd.openxmlformats-officedocument.presentationml.tags+xml"/>
  <Override PartName="/ppt/charts/chart483.xml" ContentType="application/vnd.openxmlformats-officedocument.drawingml.chart+xml"/>
  <Override PartName="/ppt/tags/tag603.xml" ContentType="application/vnd.openxmlformats-officedocument.presentationml.tags+xml"/>
  <Override PartName="/ppt/charts/chart484.xml" ContentType="application/vnd.openxmlformats-officedocument.drawingml.chart+xml"/>
  <Override PartName="/ppt/tags/tag604.xml" ContentType="application/vnd.openxmlformats-officedocument.presentationml.tags+xml"/>
  <Override PartName="/ppt/charts/chart485.xml" ContentType="application/vnd.openxmlformats-officedocument.drawingml.chart+xml"/>
  <Override PartName="/ppt/tags/tag605.xml" ContentType="application/vnd.openxmlformats-officedocument.presentationml.tags+xml"/>
  <Override PartName="/ppt/charts/chart486.xml" ContentType="application/vnd.openxmlformats-officedocument.drawingml.chart+xml"/>
  <Override PartName="/ppt/tags/tag606.xml" ContentType="application/vnd.openxmlformats-officedocument.presentationml.tags+xml"/>
  <Override PartName="/ppt/charts/chart487.xml" ContentType="application/vnd.openxmlformats-officedocument.drawingml.chart+xml"/>
  <Override PartName="/ppt/tags/tag607.xml" ContentType="application/vnd.openxmlformats-officedocument.presentationml.tags+xml"/>
  <Override PartName="/ppt/charts/chart488.xml" ContentType="application/vnd.openxmlformats-officedocument.drawingml.chart+xml"/>
  <Override PartName="/ppt/tags/tag608.xml" ContentType="application/vnd.openxmlformats-officedocument.presentationml.tags+xml"/>
  <Override PartName="/ppt/charts/chart489.xml" ContentType="application/vnd.openxmlformats-officedocument.drawingml.chart+xml"/>
  <Override PartName="/ppt/tags/tag609.xml" ContentType="application/vnd.openxmlformats-officedocument.presentationml.tags+xml"/>
  <Override PartName="/ppt/charts/chart490.xml" ContentType="application/vnd.openxmlformats-officedocument.drawingml.chart+xml"/>
  <Override PartName="/ppt/tags/tag610.xml" ContentType="application/vnd.openxmlformats-officedocument.presentationml.tags+xml"/>
  <Override PartName="/ppt/charts/chart491.xml" ContentType="application/vnd.openxmlformats-officedocument.drawingml.chart+xml"/>
  <Override PartName="/ppt/tags/tag611.xml" ContentType="application/vnd.openxmlformats-officedocument.presentationml.tags+xml"/>
  <Override PartName="/ppt/charts/chart492.xml" ContentType="application/vnd.openxmlformats-officedocument.drawingml.chart+xml"/>
  <Override PartName="/ppt/tags/tag612.xml" ContentType="application/vnd.openxmlformats-officedocument.presentationml.tags+xml"/>
  <Override PartName="/ppt/charts/chart493.xml" ContentType="application/vnd.openxmlformats-officedocument.drawingml.chart+xml"/>
  <Override PartName="/ppt/tags/tag613.xml" ContentType="application/vnd.openxmlformats-officedocument.presentationml.tags+xml"/>
  <Override PartName="/ppt/charts/chart494.xml" ContentType="application/vnd.openxmlformats-officedocument.drawingml.chart+xml"/>
  <Override PartName="/ppt/tags/tag614.xml" ContentType="application/vnd.openxmlformats-officedocument.presentationml.tags+xml"/>
  <Override PartName="/ppt/charts/chart495.xml" ContentType="application/vnd.openxmlformats-officedocument.drawingml.chart+xml"/>
  <Override PartName="/ppt/tags/tag615.xml" ContentType="application/vnd.openxmlformats-officedocument.presentationml.tags+xml"/>
  <Override PartName="/ppt/charts/chart496.xml" ContentType="application/vnd.openxmlformats-officedocument.drawingml.chart+xml"/>
  <Override PartName="/ppt/tags/tag616.xml" ContentType="application/vnd.openxmlformats-officedocument.presentationml.tags+xml"/>
  <Override PartName="/ppt/charts/chart497.xml" ContentType="application/vnd.openxmlformats-officedocument.drawingml.chart+xml"/>
  <Override PartName="/ppt/tags/tag617.xml" ContentType="application/vnd.openxmlformats-officedocument.presentationml.tags+xml"/>
  <Override PartName="/ppt/charts/chart498.xml" ContentType="application/vnd.openxmlformats-officedocument.drawingml.chart+xml"/>
  <Override PartName="/ppt/tags/tag618.xml" ContentType="application/vnd.openxmlformats-officedocument.presentationml.tags+xml"/>
  <Override PartName="/ppt/charts/chart499.xml" ContentType="application/vnd.openxmlformats-officedocument.drawingml.chart+xml"/>
  <Override PartName="/ppt/tags/tag619.xml" ContentType="application/vnd.openxmlformats-officedocument.presentationml.tags+xml"/>
  <Override PartName="/ppt/charts/chart500.xml" ContentType="application/vnd.openxmlformats-officedocument.drawingml.chart+xml"/>
  <Override PartName="/ppt/tags/tag620.xml" ContentType="application/vnd.openxmlformats-officedocument.presentationml.tags+xml"/>
  <Override PartName="/ppt/charts/chart501.xml" ContentType="application/vnd.openxmlformats-officedocument.drawingml.chart+xml"/>
  <Override PartName="/ppt/tags/tag621.xml" ContentType="application/vnd.openxmlformats-officedocument.presentationml.tags+xml"/>
  <Override PartName="/ppt/charts/chart502.xml" ContentType="application/vnd.openxmlformats-officedocument.drawingml.chart+xml"/>
  <Override PartName="/ppt/tags/tag622.xml" ContentType="application/vnd.openxmlformats-officedocument.presentationml.tags+xml"/>
  <Override PartName="/ppt/charts/chart503.xml" ContentType="application/vnd.openxmlformats-officedocument.drawingml.chart+xml"/>
  <Override PartName="/ppt/tags/tag623.xml" ContentType="application/vnd.openxmlformats-officedocument.presentationml.tags+xml"/>
  <Override PartName="/ppt/charts/chart504.xml" ContentType="application/vnd.openxmlformats-officedocument.drawingml.chart+xml"/>
  <Override PartName="/ppt/tags/tag624.xml" ContentType="application/vnd.openxmlformats-officedocument.presentationml.tags+xml"/>
  <Override PartName="/ppt/charts/chart505.xml" ContentType="application/vnd.openxmlformats-officedocument.drawingml.chart+xml"/>
  <Override PartName="/ppt/tags/tag625.xml" ContentType="application/vnd.openxmlformats-officedocument.presentationml.tags+xml"/>
  <Override PartName="/ppt/charts/chart506.xml" ContentType="application/vnd.openxmlformats-officedocument.drawingml.chart+xml"/>
  <Override PartName="/ppt/tags/tag626.xml" ContentType="application/vnd.openxmlformats-officedocument.presentationml.tags+xml"/>
  <Override PartName="/ppt/charts/chart507.xml" ContentType="application/vnd.openxmlformats-officedocument.drawingml.chart+xml"/>
  <Override PartName="/ppt/tags/tag627.xml" ContentType="application/vnd.openxmlformats-officedocument.presentationml.tags+xml"/>
  <Override PartName="/ppt/charts/chart508.xml" ContentType="application/vnd.openxmlformats-officedocument.drawingml.chart+xml"/>
  <Override PartName="/ppt/tags/tag628.xml" ContentType="application/vnd.openxmlformats-officedocument.presentationml.tags+xml"/>
  <Override PartName="/ppt/charts/chart509.xml" ContentType="application/vnd.openxmlformats-officedocument.drawingml.chart+xml"/>
  <Override PartName="/ppt/tags/tag629.xml" ContentType="application/vnd.openxmlformats-officedocument.presentationml.tags+xml"/>
  <Override PartName="/ppt/charts/chart510.xml" ContentType="application/vnd.openxmlformats-officedocument.drawingml.chart+xml"/>
  <Override PartName="/ppt/tags/tag630.xml" ContentType="application/vnd.openxmlformats-officedocument.presentationml.tags+xml"/>
  <Override PartName="/ppt/charts/chart511.xml" ContentType="application/vnd.openxmlformats-officedocument.drawingml.chart+xml"/>
  <Override PartName="/ppt/tags/tag631.xml" ContentType="application/vnd.openxmlformats-officedocument.presentationml.tags+xml"/>
  <Override PartName="/ppt/charts/chart512.xml" ContentType="application/vnd.openxmlformats-officedocument.drawingml.chart+xml"/>
  <Override PartName="/ppt/tags/tag632.xml" ContentType="application/vnd.openxmlformats-officedocument.presentationml.tags+xml"/>
  <Override PartName="/ppt/charts/chart513.xml" ContentType="application/vnd.openxmlformats-officedocument.drawingml.chart+xml"/>
  <Override PartName="/ppt/tags/tag633.xml" ContentType="application/vnd.openxmlformats-officedocument.presentationml.tags+xml"/>
  <Override PartName="/ppt/charts/chart514.xml" ContentType="application/vnd.openxmlformats-officedocument.drawingml.chart+xml"/>
  <Override PartName="/ppt/tags/tag634.xml" ContentType="application/vnd.openxmlformats-officedocument.presentationml.tags+xml"/>
  <Override PartName="/ppt/charts/chart515.xml" ContentType="application/vnd.openxmlformats-officedocument.drawingml.chart+xml"/>
  <Override PartName="/ppt/tags/tag635.xml" ContentType="application/vnd.openxmlformats-officedocument.presentationml.tags+xml"/>
  <Override PartName="/ppt/charts/chart516.xml" ContentType="application/vnd.openxmlformats-officedocument.drawingml.chart+xml"/>
  <Override PartName="/ppt/tags/tag636.xml" ContentType="application/vnd.openxmlformats-officedocument.presentationml.tags+xml"/>
  <Override PartName="/ppt/charts/chart517.xml" ContentType="application/vnd.openxmlformats-officedocument.drawingml.chart+xml"/>
  <Override PartName="/ppt/tags/tag637.xml" ContentType="application/vnd.openxmlformats-officedocument.presentationml.tags+xml"/>
  <Override PartName="/ppt/charts/chart518.xml" ContentType="application/vnd.openxmlformats-officedocument.drawingml.chart+xml"/>
  <Override PartName="/ppt/tags/tag638.xml" ContentType="application/vnd.openxmlformats-officedocument.presentationml.tags+xml"/>
  <Override PartName="/ppt/charts/chart519.xml" ContentType="application/vnd.openxmlformats-officedocument.drawingml.chart+xml"/>
  <Override PartName="/ppt/tags/tag639.xml" ContentType="application/vnd.openxmlformats-officedocument.presentationml.tags+xml"/>
  <Override PartName="/ppt/charts/chart520.xml" ContentType="application/vnd.openxmlformats-officedocument.drawingml.chart+xml"/>
  <Override PartName="/ppt/tags/tag640.xml" ContentType="application/vnd.openxmlformats-officedocument.presentationml.tags+xml"/>
  <Override PartName="/ppt/charts/chart521.xml" ContentType="application/vnd.openxmlformats-officedocument.drawingml.chart+xml"/>
  <Override PartName="/ppt/tags/tag641.xml" ContentType="application/vnd.openxmlformats-officedocument.presentationml.tags+xml"/>
  <Override PartName="/ppt/charts/chart522.xml" ContentType="application/vnd.openxmlformats-officedocument.drawingml.chart+xml"/>
  <Override PartName="/ppt/tags/tag642.xml" ContentType="application/vnd.openxmlformats-officedocument.presentationml.tags+xml"/>
  <Override PartName="/ppt/charts/chart523.xml" ContentType="application/vnd.openxmlformats-officedocument.drawingml.chart+xml"/>
  <Override PartName="/ppt/tags/tag643.xml" ContentType="application/vnd.openxmlformats-officedocument.presentationml.tags+xml"/>
  <Override PartName="/ppt/charts/chart524.xml" ContentType="application/vnd.openxmlformats-officedocument.drawingml.chart+xml"/>
  <Override PartName="/ppt/tags/tag644.xml" ContentType="application/vnd.openxmlformats-officedocument.presentationml.tags+xml"/>
  <Override PartName="/ppt/charts/chart525.xml" ContentType="application/vnd.openxmlformats-officedocument.drawingml.chart+xml"/>
  <Override PartName="/ppt/tags/tag645.xml" ContentType="application/vnd.openxmlformats-officedocument.presentationml.tags+xml"/>
  <Override PartName="/ppt/charts/chart526.xml" ContentType="application/vnd.openxmlformats-officedocument.drawingml.chart+xml"/>
  <Override PartName="/ppt/tags/tag646.xml" ContentType="application/vnd.openxmlformats-officedocument.presentationml.tags+xml"/>
  <Override PartName="/ppt/charts/chart527.xml" ContentType="application/vnd.openxmlformats-officedocument.drawingml.chart+xml"/>
  <Override PartName="/ppt/tags/tag647.xml" ContentType="application/vnd.openxmlformats-officedocument.presentationml.tags+xml"/>
  <Override PartName="/ppt/charts/chart528.xml" ContentType="application/vnd.openxmlformats-officedocument.drawingml.chart+xml"/>
  <Override PartName="/ppt/tags/tag648.xml" ContentType="application/vnd.openxmlformats-officedocument.presentationml.tags+xml"/>
  <Override PartName="/ppt/charts/chart529.xml" ContentType="application/vnd.openxmlformats-officedocument.drawingml.chart+xml"/>
  <Override PartName="/ppt/tags/tag649.xml" ContentType="application/vnd.openxmlformats-officedocument.presentationml.tags+xml"/>
  <Override PartName="/ppt/charts/chart530.xml" ContentType="application/vnd.openxmlformats-officedocument.drawingml.chart+xml"/>
  <Override PartName="/ppt/tags/tag650.xml" ContentType="application/vnd.openxmlformats-officedocument.presentationml.tags+xml"/>
  <Override PartName="/ppt/charts/chart531.xml" ContentType="application/vnd.openxmlformats-officedocument.drawingml.chart+xml"/>
  <Override PartName="/ppt/tags/tag651.xml" ContentType="application/vnd.openxmlformats-officedocument.presentationml.tags+xml"/>
  <Override PartName="/ppt/charts/chart532.xml" ContentType="application/vnd.openxmlformats-officedocument.drawingml.chart+xml"/>
  <Override PartName="/ppt/tags/tag652.xml" ContentType="application/vnd.openxmlformats-officedocument.presentationml.tags+xml"/>
  <Override PartName="/ppt/charts/chart533.xml" ContentType="application/vnd.openxmlformats-officedocument.drawingml.chart+xml"/>
  <Override PartName="/ppt/tags/tag653.xml" ContentType="application/vnd.openxmlformats-officedocument.presentationml.tags+xml"/>
  <Override PartName="/ppt/charts/chart534.xml" ContentType="application/vnd.openxmlformats-officedocument.drawingml.chart+xml"/>
  <Override PartName="/ppt/tags/tag654.xml" ContentType="application/vnd.openxmlformats-officedocument.presentationml.tags+xml"/>
  <Override PartName="/ppt/charts/chart535.xml" ContentType="application/vnd.openxmlformats-officedocument.drawingml.chart+xml"/>
  <Override PartName="/ppt/tags/tag655.xml" ContentType="application/vnd.openxmlformats-officedocument.presentationml.tags+xml"/>
  <Override PartName="/ppt/charts/chart536.xml" ContentType="application/vnd.openxmlformats-officedocument.drawingml.chart+xml"/>
  <Override PartName="/ppt/tags/tag656.xml" ContentType="application/vnd.openxmlformats-officedocument.presentationml.tags+xml"/>
  <Override PartName="/ppt/charts/chart537.xml" ContentType="application/vnd.openxmlformats-officedocument.drawingml.chart+xml"/>
  <Override PartName="/ppt/tags/tag657.xml" ContentType="application/vnd.openxmlformats-officedocument.presentationml.tags+xml"/>
  <Override PartName="/ppt/charts/chart538.xml" ContentType="application/vnd.openxmlformats-officedocument.drawingml.chart+xml"/>
  <Override PartName="/ppt/tags/tag658.xml" ContentType="application/vnd.openxmlformats-officedocument.presentationml.tags+xml"/>
  <Override PartName="/ppt/charts/chart539.xml" ContentType="application/vnd.openxmlformats-officedocument.drawingml.chart+xml"/>
  <Override PartName="/ppt/tags/tag659.xml" ContentType="application/vnd.openxmlformats-officedocument.presentationml.tags+xml"/>
  <Override PartName="/ppt/charts/chart540.xml" ContentType="application/vnd.openxmlformats-officedocument.drawingml.chart+xml"/>
  <Override PartName="/ppt/tags/tag660.xml" ContentType="application/vnd.openxmlformats-officedocument.presentationml.tags+xml"/>
  <Override PartName="/ppt/charts/chart541.xml" ContentType="application/vnd.openxmlformats-officedocument.drawingml.chart+xml"/>
  <Override PartName="/ppt/tags/tag661.xml" ContentType="application/vnd.openxmlformats-officedocument.presentationml.tags+xml"/>
  <Override PartName="/ppt/charts/chart542.xml" ContentType="application/vnd.openxmlformats-officedocument.drawingml.chart+xml"/>
  <Override PartName="/ppt/tags/tag662.xml" ContentType="application/vnd.openxmlformats-officedocument.presentationml.tags+xml"/>
  <Override PartName="/ppt/charts/chart543.xml" ContentType="application/vnd.openxmlformats-officedocument.drawingml.chart+xml"/>
  <Override PartName="/ppt/tags/tag663.xml" ContentType="application/vnd.openxmlformats-officedocument.presentationml.tags+xml"/>
  <Override PartName="/ppt/charts/chart544.xml" ContentType="application/vnd.openxmlformats-officedocument.drawingml.chart+xml"/>
  <Override PartName="/ppt/tags/tag664.xml" ContentType="application/vnd.openxmlformats-officedocument.presentationml.tags+xml"/>
  <Override PartName="/ppt/charts/chart545.xml" ContentType="application/vnd.openxmlformats-officedocument.drawingml.chart+xml"/>
  <Override PartName="/ppt/tags/tag665.xml" ContentType="application/vnd.openxmlformats-officedocument.presentationml.tags+xml"/>
  <Override PartName="/ppt/charts/chart546.xml" ContentType="application/vnd.openxmlformats-officedocument.drawingml.chart+xml"/>
  <Override PartName="/ppt/tags/tag666.xml" ContentType="application/vnd.openxmlformats-officedocument.presentationml.tags+xml"/>
  <Override PartName="/ppt/charts/chart547.xml" ContentType="application/vnd.openxmlformats-officedocument.drawingml.chart+xml"/>
  <Override PartName="/ppt/tags/tag667.xml" ContentType="application/vnd.openxmlformats-officedocument.presentationml.tags+xml"/>
  <Override PartName="/ppt/charts/chart548.xml" ContentType="application/vnd.openxmlformats-officedocument.drawingml.chart+xml"/>
  <Override PartName="/ppt/tags/tag668.xml" ContentType="application/vnd.openxmlformats-officedocument.presentationml.tags+xml"/>
  <Override PartName="/ppt/charts/chart549.xml" ContentType="application/vnd.openxmlformats-officedocument.drawingml.chart+xml"/>
  <Override PartName="/ppt/tags/tag669.xml" ContentType="application/vnd.openxmlformats-officedocument.presentationml.tags+xml"/>
  <Override PartName="/ppt/charts/chart550.xml" ContentType="application/vnd.openxmlformats-officedocument.drawingml.chart+xml"/>
  <Override PartName="/ppt/tags/tag670.xml" ContentType="application/vnd.openxmlformats-officedocument.presentationml.tags+xml"/>
  <Override PartName="/ppt/charts/chart551.xml" ContentType="application/vnd.openxmlformats-officedocument.drawingml.chart+xml"/>
  <Override PartName="/ppt/tags/tag671.xml" ContentType="application/vnd.openxmlformats-officedocument.presentationml.tags+xml"/>
  <Override PartName="/ppt/charts/chart552.xml" ContentType="application/vnd.openxmlformats-officedocument.drawingml.chart+xml"/>
  <Override PartName="/ppt/tags/tag672.xml" ContentType="application/vnd.openxmlformats-officedocument.presentationml.tags+xml"/>
  <Override PartName="/ppt/charts/chart553.xml" ContentType="application/vnd.openxmlformats-officedocument.drawingml.chart+xml"/>
  <Override PartName="/ppt/tags/tag673.xml" ContentType="application/vnd.openxmlformats-officedocument.presentationml.tags+xml"/>
  <Override PartName="/ppt/charts/chart554.xml" ContentType="application/vnd.openxmlformats-officedocument.drawingml.chart+xml"/>
  <Override PartName="/ppt/tags/tag674.xml" ContentType="application/vnd.openxmlformats-officedocument.presentationml.tags+xml"/>
  <Override PartName="/ppt/charts/chart555.xml" ContentType="application/vnd.openxmlformats-officedocument.drawingml.chart+xml"/>
  <Override PartName="/ppt/tags/tag675.xml" ContentType="application/vnd.openxmlformats-officedocument.presentationml.tags+xml"/>
  <Override PartName="/ppt/charts/chart556.xml" ContentType="application/vnd.openxmlformats-officedocument.drawingml.chart+xml"/>
  <Override PartName="/ppt/tags/tag676.xml" ContentType="application/vnd.openxmlformats-officedocument.presentationml.tags+xml"/>
  <Override PartName="/ppt/charts/chart557.xml" ContentType="application/vnd.openxmlformats-officedocument.drawingml.chart+xml"/>
  <Override PartName="/ppt/tags/tag677.xml" ContentType="application/vnd.openxmlformats-officedocument.presentationml.tags+xml"/>
  <Override PartName="/ppt/charts/chart558.xml" ContentType="application/vnd.openxmlformats-officedocument.drawingml.chart+xml"/>
  <Override PartName="/ppt/tags/tag678.xml" ContentType="application/vnd.openxmlformats-officedocument.presentationml.tags+xml"/>
  <Override PartName="/ppt/charts/chart559.xml" ContentType="application/vnd.openxmlformats-officedocument.drawingml.chart+xml"/>
  <Override PartName="/ppt/tags/tag679.xml" ContentType="application/vnd.openxmlformats-officedocument.presentationml.tags+xml"/>
  <Override PartName="/ppt/charts/chart560.xml" ContentType="application/vnd.openxmlformats-officedocument.drawingml.chart+xml"/>
  <Override PartName="/ppt/tags/tag680.xml" ContentType="application/vnd.openxmlformats-officedocument.presentationml.tags+xml"/>
  <Override PartName="/ppt/charts/chart561.xml" ContentType="application/vnd.openxmlformats-officedocument.drawingml.chart+xml"/>
  <Override PartName="/ppt/tags/tag681.xml" ContentType="application/vnd.openxmlformats-officedocument.presentationml.tags+xml"/>
  <Override PartName="/ppt/charts/chart562.xml" ContentType="application/vnd.openxmlformats-officedocument.drawingml.chart+xml"/>
  <Override PartName="/ppt/tags/tag682.xml" ContentType="application/vnd.openxmlformats-officedocument.presentationml.tags+xml"/>
  <Override PartName="/ppt/charts/chart563.xml" ContentType="application/vnd.openxmlformats-officedocument.drawingml.chart+xml"/>
  <Override PartName="/ppt/tags/tag683.xml" ContentType="application/vnd.openxmlformats-officedocument.presentationml.tags+xml"/>
  <Override PartName="/ppt/charts/chart564.xml" ContentType="application/vnd.openxmlformats-officedocument.drawingml.chart+xml"/>
  <Override PartName="/ppt/tags/tag684.xml" ContentType="application/vnd.openxmlformats-officedocument.presentationml.tags+xml"/>
  <Override PartName="/ppt/charts/chart565.xml" ContentType="application/vnd.openxmlformats-officedocument.drawingml.chart+xml"/>
  <Override PartName="/ppt/tags/tag685.xml" ContentType="application/vnd.openxmlformats-officedocument.presentationml.tags+xml"/>
  <Override PartName="/ppt/charts/chart566.xml" ContentType="application/vnd.openxmlformats-officedocument.drawingml.chart+xml"/>
  <Override PartName="/ppt/tags/tag686.xml" ContentType="application/vnd.openxmlformats-officedocument.presentationml.tags+xml"/>
  <Override PartName="/ppt/charts/chart567.xml" ContentType="application/vnd.openxmlformats-officedocument.drawingml.chart+xml"/>
  <Override PartName="/ppt/tags/tag687.xml" ContentType="application/vnd.openxmlformats-officedocument.presentationml.tags+xml"/>
  <Override PartName="/ppt/charts/chart568.xml" ContentType="application/vnd.openxmlformats-officedocument.drawingml.chart+xml"/>
  <Override PartName="/ppt/tags/tag688.xml" ContentType="application/vnd.openxmlformats-officedocument.presentationml.tags+xml"/>
  <Override PartName="/ppt/charts/chart569.xml" ContentType="application/vnd.openxmlformats-officedocument.drawingml.chart+xml"/>
  <Override PartName="/ppt/tags/tag689.xml" ContentType="application/vnd.openxmlformats-officedocument.presentationml.tags+xml"/>
  <Override PartName="/ppt/charts/chart570.xml" ContentType="application/vnd.openxmlformats-officedocument.drawingml.chart+xml"/>
  <Override PartName="/ppt/tags/tag690.xml" ContentType="application/vnd.openxmlformats-officedocument.presentationml.tags+xml"/>
  <Override PartName="/ppt/charts/chart571.xml" ContentType="application/vnd.openxmlformats-officedocument.drawingml.chart+xml"/>
  <Override PartName="/ppt/tags/tag691.xml" ContentType="application/vnd.openxmlformats-officedocument.presentationml.tags+xml"/>
  <Override PartName="/ppt/charts/chart572.xml" ContentType="application/vnd.openxmlformats-officedocument.drawingml.chart+xml"/>
  <Override PartName="/ppt/tags/tag692.xml" ContentType="application/vnd.openxmlformats-officedocument.presentationml.tags+xml"/>
  <Override PartName="/ppt/charts/chart573.xml" ContentType="application/vnd.openxmlformats-officedocument.drawingml.chart+xml"/>
  <Override PartName="/ppt/tags/tag693.xml" ContentType="application/vnd.openxmlformats-officedocument.presentationml.tags+xml"/>
  <Override PartName="/ppt/charts/chart574.xml" ContentType="application/vnd.openxmlformats-officedocument.drawingml.chart+xml"/>
  <Override PartName="/ppt/tags/tag694.xml" ContentType="application/vnd.openxmlformats-officedocument.presentationml.tags+xml"/>
  <Override PartName="/ppt/charts/chart575.xml" ContentType="application/vnd.openxmlformats-officedocument.drawingml.chart+xml"/>
  <Override PartName="/ppt/tags/tag695.xml" ContentType="application/vnd.openxmlformats-officedocument.presentationml.tags+xml"/>
  <Override PartName="/ppt/charts/chart576.xml" ContentType="application/vnd.openxmlformats-officedocument.drawingml.chart+xml"/>
  <Override PartName="/ppt/tags/tag696.xml" ContentType="application/vnd.openxmlformats-officedocument.presentationml.tags+xml"/>
  <Override PartName="/ppt/charts/chart577.xml" ContentType="application/vnd.openxmlformats-officedocument.drawingml.chart+xml"/>
  <Override PartName="/ppt/tags/tag697.xml" ContentType="application/vnd.openxmlformats-officedocument.presentationml.tags+xml"/>
  <Override PartName="/ppt/charts/chart578.xml" ContentType="application/vnd.openxmlformats-officedocument.drawingml.chart+xml"/>
  <Override PartName="/ppt/tags/tag698.xml" ContentType="application/vnd.openxmlformats-officedocument.presentationml.tags+xml"/>
  <Override PartName="/ppt/charts/chart579.xml" ContentType="application/vnd.openxmlformats-officedocument.drawingml.chart+xml"/>
  <Override PartName="/ppt/tags/tag699.xml" ContentType="application/vnd.openxmlformats-officedocument.presentationml.tags+xml"/>
  <Override PartName="/ppt/charts/chart580.xml" ContentType="application/vnd.openxmlformats-officedocument.drawingml.chart+xml"/>
  <Override PartName="/ppt/tags/tag700.xml" ContentType="application/vnd.openxmlformats-officedocument.presentationml.tags+xml"/>
  <Override PartName="/ppt/charts/chart581.xml" ContentType="application/vnd.openxmlformats-officedocument.drawingml.chart+xml"/>
  <Override PartName="/ppt/tags/tag701.xml" ContentType="application/vnd.openxmlformats-officedocument.presentationml.tags+xml"/>
  <Override PartName="/ppt/charts/chart582.xml" ContentType="application/vnd.openxmlformats-officedocument.drawingml.chart+xml"/>
  <Override PartName="/ppt/tags/tag702.xml" ContentType="application/vnd.openxmlformats-officedocument.presentationml.tags+xml"/>
  <Override PartName="/ppt/charts/chart583.xml" ContentType="application/vnd.openxmlformats-officedocument.drawingml.chart+xml"/>
  <Override PartName="/ppt/tags/tag703.xml" ContentType="application/vnd.openxmlformats-officedocument.presentationml.tags+xml"/>
  <Override PartName="/ppt/charts/chart584.xml" ContentType="application/vnd.openxmlformats-officedocument.drawingml.chart+xml"/>
  <Override PartName="/ppt/tags/tag704.xml" ContentType="application/vnd.openxmlformats-officedocument.presentationml.tags+xml"/>
  <Override PartName="/ppt/charts/chart585.xml" ContentType="application/vnd.openxmlformats-officedocument.drawingml.chart+xml"/>
  <Override PartName="/ppt/tags/tag705.xml" ContentType="application/vnd.openxmlformats-officedocument.presentationml.tags+xml"/>
  <Override PartName="/ppt/charts/chart586.xml" ContentType="application/vnd.openxmlformats-officedocument.drawingml.chart+xml"/>
  <Override PartName="/ppt/tags/tag706.xml" ContentType="application/vnd.openxmlformats-officedocument.presentationml.tags+xml"/>
  <Override PartName="/ppt/charts/chart587.xml" ContentType="application/vnd.openxmlformats-officedocument.drawingml.chart+xml"/>
  <Override PartName="/ppt/tags/tag707.xml" ContentType="application/vnd.openxmlformats-officedocument.presentationml.tags+xml"/>
  <Override PartName="/ppt/charts/chart588.xml" ContentType="application/vnd.openxmlformats-officedocument.drawingml.chart+xml"/>
  <Override PartName="/ppt/tags/tag708.xml" ContentType="application/vnd.openxmlformats-officedocument.presentationml.tags+xml"/>
  <Override PartName="/ppt/charts/chart589.xml" ContentType="application/vnd.openxmlformats-officedocument.drawingml.chart+xml"/>
  <Override PartName="/ppt/tags/tag709.xml" ContentType="application/vnd.openxmlformats-officedocument.presentationml.tags+xml"/>
  <Override PartName="/ppt/charts/chart590.xml" ContentType="application/vnd.openxmlformats-officedocument.drawingml.chart+xml"/>
  <Override PartName="/ppt/tags/tag710.xml" ContentType="application/vnd.openxmlformats-officedocument.presentationml.tags+xml"/>
  <Override PartName="/ppt/charts/chart591.xml" ContentType="application/vnd.openxmlformats-officedocument.drawingml.chart+xml"/>
  <Override PartName="/ppt/tags/tag711.xml" ContentType="application/vnd.openxmlformats-officedocument.presentationml.tags+xml"/>
  <Override PartName="/ppt/charts/chart592.xml" ContentType="application/vnd.openxmlformats-officedocument.drawingml.chart+xml"/>
  <Override PartName="/ppt/tags/tag712.xml" ContentType="application/vnd.openxmlformats-officedocument.presentationml.tags+xml"/>
  <Override PartName="/ppt/charts/chart593.xml" ContentType="application/vnd.openxmlformats-officedocument.drawingml.chart+xml"/>
  <Override PartName="/ppt/tags/tag713.xml" ContentType="application/vnd.openxmlformats-officedocument.presentationml.tags+xml"/>
  <Override PartName="/ppt/charts/chart594.xml" ContentType="application/vnd.openxmlformats-officedocument.drawingml.chart+xml"/>
  <Override PartName="/ppt/tags/tag714.xml" ContentType="application/vnd.openxmlformats-officedocument.presentationml.tags+xml"/>
  <Override PartName="/ppt/charts/chart595.xml" ContentType="application/vnd.openxmlformats-officedocument.drawingml.chart+xml"/>
  <Override PartName="/ppt/tags/tag715.xml" ContentType="application/vnd.openxmlformats-officedocument.presentationml.tags+xml"/>
  <Override PartName="/ppt/charts/chart596.xml" ContentType="application/vnd.openxmlformats-officedocument.drawingml.chart+xml"/>
  <Override PartName="/ppt/tags/tag716.xml" ContentType="application/vnd.openxmlformats-officedocument.presentationml.tags+xml"/>
  <Override PartName="/ppt/charts/chart597.xml" ContentType="application/vnd.openxmlformats-officedocument.drawingml.chart+xml"/>
  <Override PartName="/ppt/tags/tag717.xml" ContentType="application/vnd.openxmlformats-officedocument.presentationml.tags+xml"/>
  <Override PartName="/ppt/charts/chart598.xml" ContentType="application/vnd.openxmlformats-officedocument.drawingml.chart+xml"/>
  <Override PartName="/ppt/tags/tag718.xml" ContentType="application/vnd.openxmlformats-officedocument.presentationml.tags+xml"/>
  <Override PartName="/ppt/charts/chart599.xml" ContentType="application/vnd.openxmlformats-officedocument.drawingml.chart+xml"/>
  <Override PartName="/ppt/tags/tag719.xml" ContentType="application/vnd.openxmlformats-officedocument.presentationml.tags+xml"/>
  <Override PartName="/ppt/charts/chart600.xml" ContentType="application/vnd.openxmlformats-officedocument.drawingml.chart+xml"/>
  <Override PartName="/ppt/tags/tag720.xml" ContentType="application/vnd.openxmlformats-officedocument.presentationml.tags+xml"/>
  <Override PartName="/ppt/charts/chart601.xml" ContentType="application/vnd.openxmlformats-officedocument.drawingml.chart+xml"/>
  <Override PartName="/ppt/tags/tag721.xml" ContentType="application/vnd.openxmlformats-officedocument.presentationml.tags+xml"/>
  <Override PartName="/ppt/charts/chart602.xml" ContentType="application/vnd.openxmlformats-officedocument.drawingml.chart+xml"/>
  <Override PartName="/ppt/tags/tag722.xml" ContentType="application/vnd.openxmlformats-officedocument.presentationml.tags+xml"/>
  <Override PartName="/ppt/charts/chart603.xml" ContentType="application/vnd.openxmlformats-officedocument.drawingml.chart+xml"/>
  <Override PartName="/ppt/tags/tag723.xml" ContentType="application/vnd.openxmlformats-officedocument.presentationml.tags+xml"/>
  <Override PartName="/ppt/charts/chart604.xml" ContentType="application/vnd.openxmlformats-officedocument.drawingml.chart+xml"/>
  <Override PartName="/ppt/tags/tag724.xml" ContentType="application/vnd.openxmlformats-officedocument.presentationml.tags+xml"/>
  <Override PartName="/ppt/charts/chart605.xml" ContentType="application/vnd.openxmlformats-officedocument.drawingml.chart+xml"/>
  <Override PartName="/ppt/tags/tag725.xml" ContentType="application/vnd.openxmlformats-officedocument.presentationml.tags+xml"/>
  <Override PartName="/ppt/charts/chart606.xml" ContentType="application/vnd.openxmlformats-officedocument.drawingml.chart+xml"/>
  <Override PartName="/ppt/tags/tag726.xml" ContentType="application/vnd.openxmlformats-officedocument.presentationml.tags+xml"/>
  <Override PartName="/ppt/charts/chart607.xml" ContentType="application/vnd.openxmlformats-officedocument.drawingml.chart+xml"/>
  <Override PartName="/ppt/tags/tag727.xml" ContentType="application/vnd.openxmlformats-officedocument.presentationml.tags+xml"/>
  <Override PartName="/ppt/charts/chart608.xml" ContentType="application/vnd.openxmlformats-officedocument.drawingml.chart+xml"/>
  <Override PartName="/ppt/tags/tag728.xml" ContentType="application/vnd.openxmlformats-officedocument.presentationml.tags+xml"/>
  <Override PartName="/ppt/charts/chart609.xml" ContentType="application/vnd.openxmlformats-officedocument.drawingml.chart+xml"/>
  <Override PartName="/ppt/tags/tag729.xml" ContentType="application/vnd.openxmlformats-officedocument.presentationml.tags+xml"/>
  <Override PartName="/ppt/charts/chart610.xml" ContentType="application/vnd.openxmlformats-officedocument.drawingml.chart+xml"/>
  <Override PartName="/ppt/tags/tag730.xml" ContentType="application/vnd.openxmlformats-officedocument.presentationml.tags+xml"/>
  <Override PartName="/ppt/charts/chart611.xml" ContentType="application/vnd.openxmlformats-officedocument.drawingml.chart+xml"/>
  <Override PartName="/ppt/tags/tag731.xml" ContentType="application/vnd.openxmlformats-officedocument.presentationml.tags+xml"/>
  <Override PartName="/ppt/charts/chart612.xml" ContentType="application/vnd.openxmlformats-officedocument.drawingml.chart+xml"/>
  <Override PartName="/ppt/tags/tag732.xml" ContentType="application/vnd.openxmlformats-officedocument.presentationml.tags+xml"/>
  <Override PartName="/ppt/charts/chart613.xml" ContentType="application/vnd.openxmlformats-officedocument.drawingml.chart+xml"/>
  <Override PartName="/ppt/tags/tag733.xml" ContentType="application/vnd.openxmlformats-officedocument.presentationml.tags+xml"/>
  <Override PartName="/ppt/charts/chart614.xml" ContentType="application/vnd.openxmlformats-officedocument.drawingml.chart+xml"/>
  <Override PartName="/ppt/tags/tag734.xml" ContentType="application/vnd.openxmlformats-officedocument.presentationml.tags+xml"/>
  <Override PartName="/ppt/charts/chart615.xml" ContentType="application/vnd.openxmlformats-officedocument.drawingml.chart+xml"/>
  <Override PartName="/ppt/tags/tag735.xml" ContentType="application/vnd.openxmlformats-officedocument.presentationml.tags+xml"/>
  <Override PartName="/ppt/charts/chart616.xml" ContentType="application/vnd.openxmlformats-officedocument.drawingml.chart+xml"/>
  <Override PartName="/ppt/tags/tag736.xml" ContentType="application/vnd.openxmlformats-officedocument.presentationml.tags+xml"/>
  <Override PartName="/ppt/charts/chart617.xml" ContentType="application/vnd.openxmlformats-officedocument.drawingml.chart+xml"/>
  <Override PartName="/ppt/tags/tag737.xml" ContentType="application/vnd.openxmlformats-officedocument.presentationml.tags+xml"/>
  <Override PartName="/ppt/charts/chart618.xml" ContentType="application/vnd.openxmlformats-officedocument.drawingml.chart+xml"/>
  <Override PartName="/ppt/tags/tag738.xml" ContentType="application/vnd.openxmlformats-officedocument.presentationml.tags+xml"/>
  <Override PartName="/ppt/charts/chart619.xml" ContentType="application/vnd.openxmlformats-officedocument.drawingml.chart+xml"/>
  <Override PartName="/ppt/tags/tag739.xml" ContentType="application/vnd.openxmlformats-officedocument.presentationml.tags+xml"/>
  <Override PartName="/ppt/charts/chart620.xml" ContentType="application/vnd.openxmlformats-officedocument.drawingml.chart+xml"/>
  <Override PartName="/ppt/tags/tag740.xml" ContentType="application/vnd.openxmlformats-officedocument.presentationml.tags+xml"/>
  <Override PartName="/ppt/charts/chart621.xml" ContentType="application/vnd.openxmlformats-officedocument.drawingml.chart+xml"/>
  <Override PartName="/ppt/tags/tag741.xml" ContentType="application/vnd.openxmlformats-officedocument.presentationml.tags+xml"/>
  <Override PartName="/ppt/charts/chart622.xml" ContentType="application/vnd.openxmlformats-officedocument.drawingml.chart+xml"/>
  <Override PartName="/ppt/tags/tag742.xml" ContentType="application/vnd.openxmlformats-officedocument.presentationml.tags+xml"/>
  <Override PartName="/ppt/charts/chart623.xml" ContentType="application/vnd.openxmlformats-officedocument.drawingml.chart+xml"/>
  <Override PartName="/ppt/tags/tag743.xml" ContentType="application/vnd.openxmlformats-officedocument.presentationml.tags+xml"/>
  <Override PartName="/ppt/charts/chart624.xml" ContentType="application/vnd.openxmlformats-officedocument.drawingml.chart+xml"/>
  <Override PartName="/ppt/tags/tag744.xml" ContentType="application/vnd.openxmlformats-officedocument.presentationml.tags+xml"/>
  <Override PartName="/ppt/charts/chart625.xml" ContentType="application/vnd.openxmlformats-officedocument.drawingml.chart+xml"/>
  <Override PartName="/ppt/tags/tag745.xml" ContentType="application/vnd.openxmlformats-officedocument.presentationml.tags+xml"/>
  <Override PartName="/ppt/charts/chart626.xml" ContentType="application/vnd.openxmlformats-officedocument.drawingml.chart+xml"/>
  <Override PartName="/ppt/tags/tag746.xml" ContentType="application/vnd.openxmlformats-officedocument.presentationml.tags+xml"/>
  <Override PartName="/ppt/charts/chart627.xml" ContentType="application/vnd.openxmlformats-officedocument.drawingml.chart+xml"/>
  <Override PartName="/ppt/tags/tag747.xml" ContentType="application/vnd.openxmlformats-officedocument.presentationml.tags+xml"/>
  <Override PartName="/ppt/charts/chart628.xml" ContentType="application/vnd.openxmlformats-officedocument.drawingml.chart+xml"/>
  <Override PartName="/ppt/tags/tag748.xml" ContentType="application/vnd.openxmlformats-officedocument.presentationml.tags+xml"/>
  <Override PartName="/ppt/charts/chart629.xml" ContentType="application/vnd.openxmlformats-officedocument.drawingml.chart+xml"/>
  <Override PartName="/ppt/tags/tag749.xml" ContentType="application/vnd.openxmlformats-officedocument.presentationml.tags+xml"/>
  <Override PartName="/ppt/charts/chart630.xml" ContentType="application/vnd.openxmlformats-officedocument.drawingml.chart+xml"/>
  <Override PartName="/ppt/tags/tag750.xml" ContentType="application/vnd.openxmlformats-officedocument.presentationml.tags+xml"/>
  <Override PartName="/ppt/charts/chart631.xml" ContentType="application/vnd.openxmlformats-officedocument.drawingml.chart+xml"/>
  <Override PartName="/ppt/tags/tag751.xml" ContentType="application/vnd.openxmlformats-officedocument.presentationml.tags+xml"/>
  <Override PartName="/ppt/charts/chart632.xml" ContentType="application/vnd.openxmlformats-officedocument.drawingml.chart+xml"/>
  <Override PartName="/ppt/tags/tag752.xml" ContentType="application/vnd.openxmlformats-officedocument.presentationml.tags+xml"/>
  <Override PartName="/ppt/charts/chart633.xml" ContentType="application/vnd.openxmlformats-officedocument.drawingml.chart+xml"/>
  <Override PartName="/ppt/tags/tag753.xml" ContentType="application/vnd.openxmlformats-officedocument.presentationml.tags+xml"/>
  <Override PartName="/ppt/charts/chart634.xml" ContentType="application/vnd.openxmlformats-officedocument.drawingml.chart+xml"/>
  <Override PartName="/ppt/tags/tag754.xml" ContentType="application/vnd.openxmlformats-officedocument.presentationml.tags+xml"/>
  <Override PartName="/ppt/charts/chart635.xml" ContentType="application/vnd.openxmlformats-officedocument.drawingml.chart+xml"/>
  <Override PartName="/ppt/tags/tag755.xml" ContentType="application/vnd.openxmlformats-officedocument.presentationml.tags+xml"/>
  <Override PartName="/ppt/charts/chart636.xml" ContentType="application/vnd.openxmlformats-officedocument.drawingml.chart+xml"/>
  <Override PartName="/ppt/tags/tag756.xml" ContentType="application/vnd.openxmlformats-officedocument.presentationml.tags+xml"/>
  <Override PartName="/ppt/charts/chart637.xml" ContentType="application/vnd.openxmlformats-officedocument.drawingml.chart+xml"/>
  <Override PartName="/ppt/tags/tag757.xml" ContentType="application/vnd.openxmlformats-officedocument.presentationml.tags+xml"/>
  <Override PartName="/ppt/charts/chart638.xml" ContentType="application/vnd.openxmlformats-officedocument.drawingml.chart+xml"/>
  <Override PartName="/ppt/tags/tag758.xml" ContentType="application/vnd.openxmlformats-officedocument.presentationml.tags+xml"/>
  <Override PartName="/ppt/charts/chart639.xml" ContentType="application/vnd.openxmlformats-officedocument.drawingml.chart+xml"/>
  <Override PartName="/ppt/tags/tag759.xml" ContentType="application/vnd.openxmlformats-officedocument.presentationml.tags+xml"/>
  <Override PartName="/ppt/charts/chart640.xml" ContentType="application/vnd.openxmlformats-officedocument.drawingml.chart+xml"/>
  <Override PartName="/ppt/tags/tag760.xml" ContentType="application/vnd.openxmlformats-officedocument.presentationml.tags+xml"/>
  <Override PartName="/ppt/charts/chart641.xml" ContentType="application/vnd.openxmlformats-officedocument.drawingml.chart+xml"/>
  <Override PartName="/ppt/tags/tag761.xml" ContentType="application/vnd.openxmlformats-officedocument.presentationml.tags+xml"/>
  <Override PartName="/ppt/charts/chart642.xml" ContentType="application/vnd.openxmlformats-officedocument.drawingml.chart+xml"/>
  <Override PartName="/ppt/tags/tag762.xml" ContentType="application/vnd.openxmlformats-officedocument.presentationml.tags+xml"/>
  <Override PartName="/ppt/charts/chart643.xml" ContentType="application/vnd.openxmlformats-officedocument.drawingml.chart+xml"/>
  <Override PartName="/ppt/tags/tag763.xml" ContentType="application/vnd.openxmlformats-officedocument.presentationml.tags+xml"/>
  <Override PartName="/ppt/charts/chart644.xml" ContentType="application/vnd.openxmlformats-officedocument.drawingml.chart+xml"/>
  <Override PartName="/ppt/tags/tag764.xml" ContentType="application/vnd.openxmlformats-officedocument.presentationml.tags+xml"/>
  <Override PartName="/ppt/charts/chart645.xml" ContentType="application/vnd.openxmlformats-officedocument.drawingml.chart+xml"/>
  <Override PartName="/ppt/tags/tag765.xml" ContentType="application/vnd.openxmlformats-officedocument.presentationml.tags+xml"/>
  <Override PartName="/ppt/charts/chart646.xml" ContentType="application/vnd.openxmlformats-officedocument.drawingml.chart+xml"/>
  <Override PartName="/ppt/tags/tag766.xml" ContentType="application/vnd.openxmlformats-officedocument.presentationml.tags+xml"/>
  <Override PartName="/ppt/charts/chart647.xml" ContentType="application/vnd.openxmlformats-officedocument.drawingml.chart+xml"/>
  <Override PartName="/ppt/tags/tag767.xml" ContentType="application/vnd.openxmlformats-officedocument.presentationml.tags+xml"/>
  <Override PartName="/ppt/charts/chart648.xml" ContentType="application/vnd.openxmlformats-officedocument.drawingml.chart+xml"/>
  <Override PartName="/ppt/tags/tag768.xml" ContentType="application/vnd.openxmlformats-officedocument.presentationml.tags+xml"/>
  <Override PartName="/ppt/charts/chart649.xml" ContentType="application/vnd.openxmlformats-officedocument.drawingml.chart+xml"/>
  <Override PartName="/ppt/tags/tag769.xml" ContentType="application/vnd.openxmlformats-officedocument.presentationml.tags+xml"/>
  <Override PartName="/ppt/charts/chart650.xml" ContentType="application/vnd.openxmlformats-officedocument.drawingml.chart+xml"/>
  <Override PartName="/ppt/tags/tag770.xml" ContentType="application/vnd.openxmlformats-officedocument.presentationml.tags+xml"/>
  <Override PartName="/ppt/charts/chart651.xml" ContentType="application/vnd.openxmlformats-officedocument.drawingml.chart+xml"/>
  <Override PartName="/ppt/tags/tag771.xml" ContentType="application/vnd.openxmlformats-officedocument.presentationml.tags+xml"/>
  <Override PartName="/ppt/charts/chart652.xml" ContentType="application/vnd.openxmlformats-officedocument.drawingml.chart+xml"/>
  <Override PartName="/ppt/tags/tag772.xml" ContentType="application/vnd.openxmlformats-officedocument.presentationml.tags+xml"/>
  <Override PartName="/ppt/charts/chart653.xml" ContentType="application/vnd.openxmlformats-officedocument.drawingml.chart+xml"/>
  <Override PartName="/ppt/tags/tag773.xml" ContentType="application/vnd.openxmlformats-officedocument.presentationml.tags+xml"/>
  <Override PartName="/ppt/charts/chart654.xml" ContentType="application/vnd.openxmlformats-officedocument.drawingml.chart+xml"/>
  <Override PartName="/ppt/tags/tag774.xml" ContentType="application/vnd.openxmlformats-officedocument.presentationml.tags+xml"/>
  <Override PartName="/ppt/charts/chart655.xml" ContentType="application/vnd.openxmlformats-officedocument.drawingml.chart+xml"/>
  <Override PartName="/ppt/tags/tag775.xml" ContentType="application/vnd.openxmlformats-officedocument.presentationml.tags+xml"/>
  <Override PartName="/ppt/charts/chart656.xml" ContentType="application/vnd.openxmlformats-officedocument.drawingml.chart+xml"/>
  <Override PartName="/ppt/tags/tag776.xml" ContentType="application/vnd.openxmlformats-officedocument.presentationml.tags+xml"/>
  <Override PartName="/ppt/charts/chart657.xml" ContentType="application/vnd.openxmlformats-officedocument.drawingml.chart+xml"/>
  <Override PartName="/ppt/tags/tag777.xml" ContentType="application/vnd.openxmlformats-officedocument.presentationml.tags+xml"/>
  <Override PartName="/ppt/charts/chart658.xml" ContentType="application/vnd.openxmlformats-officedocument.drawingml.chart+xml"/>
  <Override PartName="/ppt/tags/tag778.xml" ContentType="application/vnd.openxmlformats-officedocument.presentationml.tags+xml"/>
  <Override PartName="/ppt/charts/chart659.xml" ContentType="application/vnd.openxmlformats-officedocument.drawingml.chart+xml"/>
  <Override PartName="/ppt/tags/tag779.xml" ContentType="application/vnd.openxmlformats-officedocument.presentationml.tags+xml"/>
  <Override PartName="/ppt/charts/chart660.xml" ContentType="application/vnd.openxmlformats-officedocument.drawingml.chart+xml"/>
  <Override PartName="/ppt/tags/tag780.xml" ContentType="application/vnd.openxmlformats-officedocument.presentationml.tags+xml"/>
  <Override PartName="/ppt/charts/chart661.xml" ContentType="application/vnd.openxmlformats-officedocument.drawingml.chart+xml"/>
  <Override PartName="/ppt/tags/tag781.xml" ContentType="application/vnd.openxmlformats-officedocument.presentationml.tags+xml"/>
  <Override PartName="/ppt/charts/chart662.xml" ContentType="application/vnd.openxmlformats-officedocument.drawingml.chart+xml"/>
  <Override PartName="/ppt/tags/tag782.xml" ContentType="application/vnd.openxmlformats-officedocument.presentationml.tags+xml"/>
  <Override PartName="/ppt/charts/chart663.xml" ContentType="application/vnd.openxmlformats-officedocument.drawingml.chart+xml"/>
  <Override PartName="/ppt/tags/tag783.xml" ContentType="application/vnd.openxmlformats-officedocument.presentationml.tags+xml"/>
  <Override PartName="/ppt/charts/chart664.xml" ContentType="application/vnd.openxmlformats-officedocument.drawingml.chart+xml"/>
  <Override PartName="/ppt/tags/tag784.xml" ContentType="application/vnd.openxmlformats-officedocument.presentationml.tags+xml"/>
  <Override PartName="/ppt/charts/chart665.xml" ContentType="application/vnd.openxmlformats-officedocument.drawingml.chart+xml"/>
  <Override PartName="/ppt/tags/tag785.xml" ContentType="application/vnd.openxmlformats-officedocument.presentationml.tags+xml"/>
  <Override PartName="/ppt/charts/chart666.xml" ContentType="application/vnd.openxmlformats-officedocument.drawingml.chart+xml"/>
  <Override PartName="/ppt/tags/tag786.xml" ContentType="application/vnd.openxmlformats-officedocument.presentationml.tags+xml"/>
  <Override PartName="/ppt/charts/chart667.xml" ContentType="application/vnd.openxmlformats-officedocument.drawingml.chart+xml"/>
  <Override PartName="/ppt/tags/tag787.xml" ContentType="application/vnd.openxmlformats-officedocument.presentationml.tags+xml"/>
  <Override PartName="/ppt/charts/chart668.xml" ContentType="application/vnd.openxmlformats-officedocument.drawingml.chart+xml"/>
  <Override PartName="/ppt/tags/tag788.xml" ContentType="application/vnd.openxmlformats-officedocument.presentationml.tags+xml"/>
  <Override PartName="/ppt/charts/chart669.xml" ContentType="application/vnd.openxmlformats-officedocument.drawingml.chart+xml"/>
  <Override PartName="/ppt/tags/tag789.xml" ContentType="application/vnd.openxmlformats-officedocument.presentationml.tags+xml"/>
  <Override PartName="/ppt/charts/chart670.xml" ContentType="application/vnd.openxmlformats-officedocument.drawingml.chart+xml"/>
  <Override PartName="/ppt/tags/tag790.xml" ContentType="application/vnd.openxmlformats-officedocument.presentationml.tags+xml"/>
  <Override PartName="/ppt/charts/chart671.xml" ContentType="application/vnd.openxmlformats-officedocument.drawingml.chart+xml"/>
  <Override PartName="/ppt/tags/tag791.xml" ContentType="application/vnd.openxmlformats-officedocument.presentationml.tags+xml"/>
  <Override PartName="/ppt/charts/chart672.xml" ContentType="application/vnd.openxmlformats-officedocument.drawingml.chart+xml"/>
  <Override PartName="/ppt/tags/tag792.xml" ContentType="application/vnd.openxmlformats-officedocument.presentationml.tags+xml"/>
  <Override PartName="/ppt/charts/chart673.xml" ContentType="application/vnd.openxmlformats-officedocument.drawingml.chart+xml"/>
  <Override PartName="/ppt/tags/tag793.xml" ContentType="application/vnd.openxmlformats-officedocument.presentationml.tags+xml"/>
  <Override PartName="/ppt/charts/chart674.xml" ContentType="application/vnd.openxmlformats-officedocument.drawingml.chart+xml"/>
  <Override PartName="/ppt/tags/tag794.xml" ContentType="application/vnd.openxmlformats-officedocument.presentationml.tags+xml"/>
  <Override PartName="/ppt/charts/chart675.xml" ContentType="application/vnd.openxmlformats-officedocument.drawingml.chart+xml"/>
  <Override PartName="/ppt/tags/tag795.xml" ContentType="application/vnd.openxmlformats-officedocument.presentationml.tags+xml"/>
  <Override PartName="/ppt/charts/chart676.xml" ContentType="application/vnd.openxmlformats-officedocument.drawingml.chart+xml"/>
  <Override PartName="/ppt/tags/tag796.xml" ContentType="application/vnd.openxmlformats-officedocument.presentationml.tags+xml"/>
  <Override PartName="/ppt/charts/chart677.xml" ContentType="application/vnd.openxmlformats-officedocument.drawingml.chart+xml"/>
  <Override PartName="/ppt/tags/tag797.xml" ContentType="application/vnd.openxmlformats-officedocument.presentationml.tags+xml"/>
  <Override PartName="/ppt/charts/chart678.xml" ContentType="application/vnd.openxmlformats-officedocument.drawingml.chart+xml"/>
  <Override PartName="/ppt/tags/tag798.xml" ContentType="application/vnd.openxmlformats-officedocument.presentationml.tags+xml"/>
  <Override PartName="/ppt/charts/chart679.xml" ContentType="application/vnd.openxmlformats-officedocument.drawingml.chart+xml"/>
  <Override PartName="/ppt/tags/tag799.xml" ContentType="application/vnd.openxmlformats-officedocument.presentationml.tags+xml"/>
  <Override PartName="/ppt/charts/chart680.xml" ContentType="application/vnd.openxmlformats-officedocument.drawingml.chart+xml"/>
  <Override PartName="/ppt/tags/tag800.xml" ContentType="application/vnd.openxmlformats-officedocument.presentationml.tags+xml"/>
  <Override PartName="/ppt/charts/chart681.xml" ContentType="application/vnd.openxmlformats-officedocument.drawingml.chart+xml"/>
  <Override PartName="/ppt/tags/tag801.xml" ContentType="application/vnd.openxmlformats-officedocument.presentationml.tags+xml"/>
  <Override PartName="/ppt/charts/chart682.xml" ContentType="application/vnd.openxmlformats-officedocument.drawingml.chart+xml"/>
  <Override PartName="/ppt/tags/tag802.xml" ContentType="application/vnd.openxmlformats-officedocument.presentationml.tags+xml"/>
  <Override PartName="/ppt/charts/chart683.xml" ContentType="application/vnd.openxmlformats-officedocument.drawingml.chart+xml"/>
  <Override PartName="/ppt/tags/tag803.xml" ContentType="application/vnd.openxmlformats-officedocument.presentationml.tags+xml"/>
  <Override PartName="/ppt/charts/chart684.xml" ContentType="application/vnd.openxmlformats-officedocument.drawingml.chart+xml"/>
  <Override PartName="/ppt/tags/tag804.xml" ContentType="application/vnd.openxmlformats-officedocument.presentationml.tags+xml"/>
  <Override PartName="/ppt/charts/chart685.xml" ContentType="application/vnd.openxmlformats-officedocument.drawingml.chart+xml"/>
  <Override PartName="/ppt/tags/tag805.xml" ContentType="application/vnd.openxmlformats-officedocument.presentationml.tags+xml"/>
  <Override PartName="/ppt/charts/chart686.xml" ContentType="application/vnd.openxmlformats-officedocument.drawingml.chart+xml"/>
  <Override PartName="/ppt/tags/tag806.xml" ContentType="application/vnd.openxmlformats-officedocument.presentationml.tags+xml"/>
  <Override PartName="/ppt/charts/chart687.xml" ContentType="application/vnd.openxmlformats-officedocument.drawingml.chart+xml"/>
  <Override PartName="/ppt/tags/tag807.xml" ContentType="application/vnd.openxmlformats-officedocument.presentationml.tags+xml"/>
  <Override PartName="/ppt/charts/chart688.xml" ContentType="application/vnd.openxmlformats-officedocument.drawingml.chart+xml"/>
  <Override PartName="/ppt/tags/tag808.xml" ContentType="application/vnd.openxmlformats-officedocument.presentationml.tags+xml"/>
  <Override PartName="/ppt/charts/chart689.xml" ContentType="application/vnd.openxmlformats-officedocument.drawingml.chart+xml"/>
  <Override PartName="/ppt/tags/tag809.xml" ContentType="application/vnd.openxmlformats-officedocument.presentationml.tags+xml"/>
  <Override PartName="/ppt/charts/chart690.xml" ContentType="application/vnd.openxmlformats-officedocument.drawingml.chart+xml"/>
  <Override PartName="/ppt/tags/tag810.xml" ContentType="application/vnd.openxmlformats-officedocument.presentationml.tags+xml"/>
  <Override PartName="/ppt/charts/chart691.xml" ContentType="application/vnd.openxmlformats-officedocument.drawingml.chart+xml"/>
  <Override PartName="/ppt/tags/tag811.xml" ContentType="application/vnd.openxmlformats-officedocument.presentationml.tags+xml"/>
  <Override PartName="/ppt/charts/chart692.xml" ContentType="application/vnd.openxmlformats-officedocument.drawingml.chart+xml"/>
  <Override PartName="/ppt/tags/tag812.xml" ContentType="application/vnd.openxmlformats-officedocument.presentationml.tags+xml"/>
  <Override PartName="/ppt/charts/chart693.xml" ContentType="application/vnd.openxmlformats-officedocument.drawingml.chart+xml"/>
  <Override PartName="/ppt/tags/tag813.xml" ContentType="application/vnd.openxmlformats-officedocument.presentationml.tags+xml"/>
  <Override PartName="/ppt/charts/chart694.xml" ContentType="application/vnd.openxmlformats-officedocument.drawingml.chart+xml"/>
  <Override PartName="/ppt/tags/tag814.xml" ContentType="application/vnd.openxmlformats-officedocument.presentationml.tags+xml"/>
  <Override PartName="/ppt/charts/chart695.xml" ContentType="application/vnd.openxmlformats-officedocument.drawingml.chart+xml"/>
  <Override PartName="/ppt/tags/tag815.xml" ContentType="application/vnd.openxmlformats-officedocument.presentationml.tags+xml"/>
  <Override PartName="/ppt/charts/chart696.xml" ContentType="application/vnd.openxmlformats-officedocument.drawingml.chart+xml"/>
  <Override PartName="/ppt/tags/tag816.xml" ContentType="application/vnd.openxmlformats-officedocument.presentationml.tags+xml"/>
  <Override PartName="/ppt/charts/chart697.xml" ContentType="application/vnd.openxmlformats-officedocument.drawingml.chart+xml"/>
  <Override PartName="/ppt/tags/tag817.xml" ContentType="application/vnd.openxmlformats-officedocument.presentationml.tags+xml"/>
  <Override PartName="/ppt/charts/chart698.xml" ContentType="application/vnd.openxmlformats-officedocument.drawingml.chart+xml"/>
  <Override PartName="/ppt/tags/tag818.xml" ContentType="application/vnd.openxmlformats-officedocument.presentationml.tags+xml"/>
  <Override PartName="/ppt/charts/chart699.xml" ContentType="application/vnd.openxmlformats-officedocument.drawingml.chart+xml"/>
  <Override PartName="/ppt/tags/tag819.xml" ContentType="application/vnd.openxmlformats-officedocument.presentationml.tags+xml"/>
  <Override PartName="/ppt/charts/chart700.xml" ContentType="application/vnd.openxmlformats-officedocument.drawingml.chart+xml"/>
  <Override PartName="/ppt/tags/tag820.xml" ContentType="application/vnd.openxmlformats-officedocument.presentationml.tags+xml"/>
  <Override PartName="/ppt/charts/chart701.xml" ContentType="application/vnd.openxmlformats-officedocument.drawingml.chart+xml"/>
  <Override PartName="/ppt/tags/tag821.xml" ContentType="application/vnd.openxmlformats-officedocument.presentationml.tags+xml"/>
  <Override PartName="/ppt/charts/chart702.xml" ContentType="application/vnd.openxmlformats-officedocument.drawingml.chart+xml"/>
  <Override PartName="/ppt/tags/tag822.xml" ContentType="application/vnd.openxmlformats-officedocument.presentationml.tags+xml"/>
  <Override PartName="/ppt/charts/chart703.xml" ContentType="application/vnd.openxmlformats-officedocument.drawingml.chart+xml"/>
  <Override PartName="/ppt/tags/tag823.xml" ContentType="application/vnd.openxmlformats-officedocument.presentationml.tags+xml"/>
  <Override PartName="/ppt/charts/chart704.xml" ContentType="application/vnd.openxmlformats-officedocument.drawingml.chart+xml"/>
  <Override PartName="/ppt/tags/tag824.xml" ContentType="application/vnd.openxmlformats-officedocument.presentationml.tags+xml"/>
  <Override PartName="/ppt/charts/chart705.xml" ContentType="application/vnd.openxmlformats-officedocument.drawingml.chart+xml"/>
  <Override PartName="/ppt/tags/tag825.xml" ContentType="application/vnd.openxmlformats-officedocument.presentationml.tags+xml"/>
  <Override PartName="/ppt/charts/chart706.xml" ContentType="application/vnd.openxmlformats-officedocument.drawingml.chart+xml"/>
  <Override PartName="/ppt/tags/tag826.xml" ContentType="application/vnd.openxmlformats-officedocument.presentationml.tags+xml"/>
  <Override PartName="/ppt/charts/chart707.xml" ContentType="application/vnd.openxmlformats-officedocument.drawingml.chart+xml"/>
  <Override PartName="/ppt/tags/tag827.xml" ContentType="application/vnd.openxmlformats-officedocument.presentationml.tags+xml"/>
  <Override PartName="/ppt/charts/chart708.xml" ContentType="application/vnd.openxmlformats-officedocument.drawingml.chart+xml"/>
  <Override PartName="/ppt/tags/tag828.xml" ContentType="application/vnd.openxmlformats-officedocument.presentationml.tags+xml"/>
  <Override PartName="/ppt/charts/chart709.xml" ContentType="application/vnd.openxmlformats-officedocument.drawingml.chart+xml"/>
  <Override PartName="/ppt/tags/tag829.xml" ContentType="application/vnd.openxmlformats-officedocument.presentationml.tags+xml"/>
  <Override PartName="/ppt/charts/chart710.xml" ContentType="application/vnd.openxmlformats-officedocument.drawingml.chart+xml"/>
  <Override PartName="/ppt/tags/tag830.xml" ContentType="application/vnd.openxmlformats-officedocument.presentationml.tags+xml"/>
  <Override PartName="/ppt/charts/chart711.xml" ContentType="application/vnd.openxmlformats-officedocument.drawingml.chart+xml"/>
  <Override PartName="/ppt/tags/tag831.xml" ContentType="application/vnd.openxmlformats-officedocument.presentationml.tags+xml"/>
  <Override PartName="/ppt/charts/chart712.xml" ContentType="application/vnd.openxmlformats-officedocument.drawingml.chart+xml"/>
  <Override PartName="/ppt/tags/tag832.xml" ContentType="application/vnd.openxmlformats-officedocument.presentationml.tags+xml"/>
  <Override PartName="/ppt/charts/chart713.xml" ContentType="application/vnd.openxmlformats-officedocument.drawingml.chart+xml"/>
  <Override PartName="/ppt/tags/tag833.xml" ContentType="application/vnd.openxmlformats-officedocument.presentationml.tags+xml"/>
  <Override PartName="/ppt/charts/chart714.xml" ContentType="application/vnd.openxmlformats-officedocument.drawingml.chart+xml"/>
  <Override PartName="/ppt/tags/tag834.xml" ContentType="application/vnd.openxmlformats-officedocument.presentationml.tags+xml"/>
  <Override PartName="/ppt/charts/chart715.xml" ContentType="application/vnd.openxmlformats-officedocument.drawingml.chart+xml"/>
  <Override PartName="/ppt/tags/tag835.xml" ContentType="application/vnd.openxmlformats-officedocument.presentationml.tags+xml"/>
  <Override PartName="/ppt/charts/chart716.xml" ContentType="application/vnd.openxmlformats-officedocument.drawingml.chart+xml"/>
  <Override PartName="/ppt/tags/tag836.xml" ContentType="application/vnd.openxmlformats-officedocument.presentationml.tags+xml"/>
  <Override PartName="/ppt/charts/chart717.xml" ContentType="application/vnd.openxmlformats-officedocument.drawingml.chart+xml"/>
  <Override PartName="/ppt/tags/tag837.xml" ContentType="application/vnd.openxmlformats-officedocument.presentationml.tags+xml"/>
  <Override PartName="/ppt/charts/chart718.xml" ContentType="application/vnd.openxmlformats-officedocument.drawingml.chart+xml"/>
  <Override PartName="/ppt/tags/tag838.xml" ContentType="application/vnd.openxmlformats-officedocument.presentationml.tags+xml"/>
  <Override PartName="/ppt/charts/chart719.xml" ContentType="application/vnd.openxmlformats-officedocument.drawingml.chart+xml"/>
  <Override PartName="/ppt/tags/tag839.xml" ContentType="application/vnd.openxmlformats-officedocument.presentationml.tags+xml"/>
  <Override PartName="/ppt/charts/chart720.xml" ContentType="application/vnd.openxmlformats-officedocument.drawingml.chart+xml"/>
  <Override PartName="/ppt/tags/tag840.xml" ContentType="application/vnd.openxmlformats-officedocument.presentationml.tags+xml"/>
  <Override PartName="/ppt/charts/chart721.xml" ContentType="application/vnd.openxmlformats-officedocument.drawingml.chart+xml"/>
  <Override PartName="/ppt/tags/tag841.xml" ContentType="application/vnd.openxmlformats-officedocument.presentationml.tags+xml"/>
  <Override PartName="/ppt/charts/chart722.xml" ContentType="application/vnd.openxmlformats-officedocument.drawingml.chart+xml"/>
  <Override PartName="/ppt/tags/tag842.xml" ContentType="application/vnd.openxmlformats-officedocument.presentationml.tags+xml"/>
  <Override PartName="/ppt/charts/chart723.xml" ContentType="application/vnd.openxmlformats-officedocument.drawingml.chart+xml"/>
  <Override PartName="/ppt/tags/tag843.xml" ContentType="application/vnd.openxmlformats-officedocument.presentationml.tags+xml"/>
  <Override PartName="/ppt/charts/chart724.xml" ContentType="application/vnd.openxmlformats-officedocument.drawingml.chart+xml"/>
  <Override PartName="/ppt/tags/tag844.xml" ContentType="application/vnd.openxmlformats-officedocument.presentationml.tags+xml"/>
  <Override PartName="/ppt/charts/chart725.xml" ContentType="application/vnd.openxmlformats-officedocument.drawingml.chart+xml"/>
  <Override PartName="/ppt/tags/tag845.xml" ContentType="application/vnd.openxmlformats-officedocument.presentationml.tags+xml"/>
  <Override PartName="/ppt/charts/chart726.xml" ContentType="application/vnd.openxmlformats-officedocument.drawingml.chart+xml"/>
  <Override PartName="/ppt/tags/tag846.xml" ContentType="application/vnd.openxmlformats-officedocument.presentationml.tags+xml"/>
  <Override PartName="/ppt/charts/chart727.xml" ContentType="application/vnd.openxmlformats-officedocument.drawingml.chart+xml"/>
  <Override PartName="/ppt/tags/tag847.xml" ContentType="application/vnd.openxmlformats-officedocument.presentationml.tags+xml"/>
  <Override PartName="/ppt/charts/chart728.xml" ContentType="application/vnd.openxmlformats-officedocument.drawingml.chart+xml"/>
  <Override PartName="/ppt/tags/tag848.xml" ContentType="application/vnd.openxmlformats-officedocument.presentationml.tags+xml"/>
  <Override PartName="/ppt/charts/chart729.xml" ContentType="application/vnd.openxmlformats-officedocument.drawingml.chart+xml"/>
  <Override PartName="/ppt/tags/tag849.xml" ContentType="application/vnd.openxmlformats-officedocument.presentationml.tags+xml"/>
  <Override PartName="/ppt/charts/chart730.xml" ContentType="application/vnd.openxmlformats-officedocument.drawingml.chart+xml"/>
  <Override PartName="/ppt/tags/tag850.xml" ContentType="application/vnd.openxmlformats-officedocument.presentationml.tags+xml"/>
  <Override PartName="/ppt/charts/chart731.xml" ContentType="application/vnd.openxmlformats-officedocument.drawingml.chart+xml"/>
  <Override PartName="/ppt/tags/tag851.xml" ContentType="application/vnd.openxmlformats-officedocument.presentationml.tags+xml"/>
  <Override PartName="/ppt/charts/chart732.xml" ContentType="application/vnd.openxmlformats-officedocument.drawingml.chart+xml"/>
  <Override PartName="/ppt/tags/tag852.xml" ContentType="application/vnd.openxmlformats-officedocument.presentationml.tags+xml"/>
  <Override PartName="/ppt/charts/chart733.xml" ContentType="application/vnd.openxmlformats-officedocument.drawingml.chart+xml"/>
  <Override PartName="/ppt/tags/tag853.xml" ContentType="application/vnd.openxmlformats-officedocument.presentationml.tags+xml"/>
  <Override PartName="/ppt/charts/chart734.xml" ContentType="application/vnd.openxmlformats-officedocument.drawingml.chart+xml"/>
  <Override PartName="/ppt/tags/tag854.xml" ContentType="application/vnd.openxmlformats-officedocument.presentationml.tags+xml"/>
  <Override PartName="/ppt/charts/chart735.xml" ContentType="application/vnd.openxmlformats-officedocument.drawingml.chart+xml"/>
  <Override PartName="/ppt/tags/tag855.xml" ContentType="application/vnd.openxmlformats-officedocument.presentationml.tags+xml"/>
  <Override PartName="/ppt/charts/chart736.xml" ContentType="application/vnd.openxmlformats-officedocument.drawingml.chart+xml"/>
  <Override PartName="/ppt/tags/tag856.xml" ContentType="application/vnd.openxmlformats-officedocument.presentationml.tags+xml"/>
  <Override PartName="/ppt/charts/chart737.xml" ContentType="application/vnd.openxmlformats-officedocument.drawingml.chart+xml"/>
  <Override PartName="/ppt/tags/tag857.xml" ContentType="application/vnd.openxmlformats-officedocument.presentationml.tags+xml"/>
  <Override PartName="/ppt/charts/chart738.xml" ContentType="application/vnd.openxmlformats-officedocument.drawingml.chart+xml"/>
  <Override PartName="/ppt/tags/tag858.xml" ContentType="application/vnd.openxmlformats-officedocument.presentationml.tags+xml"/>
  <Override PartName="/ppt/charts/chart739.xml" ContentType="application/vnd.openxmlformats-officedocument.drawingml.chart+xml"/>
  <Override PartName="/ppt/tags/tag859.xml" ContentType="application/vnd.openxmlformats-officedocument.presentationml.tags+xml"/>
  <Override PartName="/ppt/charts/chart740.xml" ContentType="application/vnd.openxmlformats-officedocument.drawingml.chart+xml"/>
  <Override PartName="/ppt/tags/tag860.xml" ContentType="application/vnd.openxmlformats-officedocument.presentationml.tags+xml"/>
  <Override PartName="/ppt/charts/chart741.xml" ContentType="application/vnd.openxmlformats-officedocument.drawingml.chart+xml"/>
  <Override PartName="/ppt/tags/tag861.xml" ContentType="application/vnd.openxmlformats-officedocument.presentationml.tags+xml"/>
  <Override PartName="/ppt/charts/chart74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98D4C27-F3CA-4CD0-9FEE-FBD645BC9A63}">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Lst>
        </p14:section>
        <p14:section name="Sectors Share and Growth By Brands" id="{0996AEEB-A6BE-4C83-B4CC-4FF872D49B2D}">
          <p14:sldIdLst>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Lst>
        </p14:section>
        <p14:section name="Segments Share and Growth By Brands" id="{95B9A4FC-8C4F-4EC2-AC88-588F5E751326}">
          <p14:sldIdLst>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Lst>
        </p14:section>
        <p14:section name="SubSegments Share and Growth By Brands" id="{54CF930F-E5E6-4390-917E-B58E05E1352B}">
          <p14:sldIdLst>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Lst>
        </p14:section>
        <p14:section name="SubCategory Share and Growth By Brands" id="{B53BE0B0-7A71-46FE-89AE-3DF90EB7AC55}">
          <p14:sldIdLst>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Lst>
        </p14:section>
        <p14:section name="Price Point Distribution Analysis By Brand" id="{2E7A3E10-B217-4F76-822A-467973B96F40}">
          <p14:sldIdLst>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slide" Target="slides/slide832.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theme" Target="theme/theme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467" Type="http://schemas.openxmlformats.org/officeDocument/2006/relationships/slide" Target="slides/slide463.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839" Type="http://schemas.openxmlformats.org/officeDocument/2006/relationships/notesMaster" Target="notesMasters/notesMaster1.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slide" Target="slides/slide790.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830" Type="http://schemas.openxmlformats.org/officeDocument/2006/relationships/slide" Target="slides/slide82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841"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810" Type="http://schemas.openxmlformats.org/officeDocument/2006/relationships/slide" Target="slides/slide806.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796" Type="http://schemas.openxmlformats.org/officeDocument/2006/relationships/slide" Target="slides/slide792.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821" Type="http://schemas.openxmlformats.org/officeDocument/2006/relationships/slide" Target="slides/slide817.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43" Type="http://schemas.openxmlformats.org/officeDocument/2006/relationships/tableStyles" Target="tableStyles.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slide" Target="slides/slide830.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slide" Target="slides/slide834.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openxmlformats.org/officeDocument/2006/relationships/presProps" Target="presProps.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844" Type="http://schemas.microsoft.com/office/2015/10/relationships/revisionInfo" Target="revisionInfo.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slide" Target="slides/slide83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407E04-0307-4DCB-AFF4-7F5F716D8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F7B7B7-6A5F-4C3F-8A52-04C0AD7A5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51C5DD-853C-4E74-8DBB-8B0189E77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875830-DFC5-4F39-88DB-C0E3DDF08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C3B00C-540C-439D-9713-0D446BDD4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5EF48D-D1CD-4F3E-95B3-325E869EF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31E363-1818-4418-86CD-CC67B46C9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1F91B4-6496-4909-964C-6B20D57B4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00862185576273</c:v>
                </c:pt>
                <c:pt idx="1">
                  <c:v>6.8044420160592738</c:v>
                </c:pt>
                <c:pt idx="2">
                  <c:v>13.932031408052779</c:v>
                </c:pt>
                <c:pt idx="3">
                  <c:v>10.997859437801621</c:v>
                </c:pt>
                <c:pt idx="4">
                  <c:v>4.4802238399707939</c:v>
                </c:pt>
                <c:pt idx="5">
                  <c:v>11.1531970474096</c:v>
                </c:pt>
                <c:pt idx="6">
                  <c:v>10.76555298207133</c:v>
                </c:pt>
                <c:pt idx="7">
                  <c:v>3.7753507559804689</c:v>
                </c:pt>
                <c:pt idx="8">
                  <c:v>10.62266167383531</c:v>
                </c:pt>
              </c:numCache>
            </c:numRef>
          </c:xVal>
          <c:yVal>
            <c:numRef>
              <c:f>Sheet1!$B$2:$B$10</c:f>
              <c:numCache>
                <c:formatCode>General</c:formatCode>
                <c:ptCount val="9"/>
                <c:pt idx="0">
                  <c:v>1.5808842767328191</c:v>
                </c:pt>
                <c:pt idx="1">
                  <c:v>0.77844236450759163</c:v>
                </c:pt>
                <c:pt idx="2">
                  <c:v>1.951004754361036</c:v>
                </c:pt>
                <c:pt idx="3">
                  <c:v>1.6862017668976419</c:v>
                </c:pt>
                <c:pt idx="4">
                  <c:v>0.54072453603014581</c:v>
                </c:pt>
                <c:pt idx="5">
                  <c:v>1.4676320865138091</c:v>
                </c:pt>
                <c:pt idx="6">
                  <c:v>1.4023776813340001</c:v>
                </c:pt>
                <c:pt idx="7">
                  <c:v>0.15063079878297619</c:v>
                </c:pt>
                <c:pt idx="8">
                  <c:v>1.3154341428599681</c:v>
                </c:pt>
              </c:numCache>
            </c:numRef>
          </c:yVal>
          <c:bubbleSize>
            <c:numRef>
              <c:f>Sheet1!$C$2:$C$10</c:f>
              <c:numCache>
                <c:formatCode>General</c:formatCode>
                <c:ptCount val="9"/>
                <c:pt idx="0">
                  <c:v>530970474</c:v>
                </c:pt>
                <c:pt idx="1">
                  <c:v>112654621</c:v>
                </c:pt>
                <c:pt idx="2">
                  <c:v>88767757</c:v>
                </c:pt>
                <c:pt idx="3">
                  <c:v>84640725</c:v>
                </c:pt>
                <c:pt idx="4">
                  <c:v>80775340</c:v>
                </c:pt>
                <c:pt idx="5">
                  <c:v>68064716</c:v>
                </c:pt>
                <c:pt idx="6">
                  <c:v>66574255</c:v>
                </c:pt>
                <c:pt idx="7">
                  <c:v>30788631</c:v>
                </c:pt>
                <c:pt idx="8">
                  <c:v>2702597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Pbg Pl</c:v>
                  </c:pt>
                  <c:pt idx="5">
                    <c:v>Flamingo</c:v>
                  </c:pt>
                  <c:pt idx="6">
                    <c:v>Billie</c:v>
                  </c:pt>
                  <c:pt idx="7">
                    <c:v>Bic Silky Touch</c:v>
                  </c:pt>
                  <c:pt idx="8">
                    <c:v>Jo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1CAE4E-032B-4FA7-88BE-DDCDFC87D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C1717-A9CF-4D00-98B0-8C1F8129C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D10502-A8D1-4E09-BDE4-48A8DDAD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75D359-74DF-49AC-833E-E1CF19BB6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6B5246-6D5F-48D0-A50B-C24EBF753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532D04-A1B6-44A6-86B8-126394431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09C78E-5447-4756-90B0-A6D56FAF9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0492D0-2C14-42C6-B1DA-268413362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99084893706884</c:v>
                </c:pt>
                <c:pt idx="1">
                  <c:v>18.427811391612771</c:v>
                </c:pt>
                <c:pt idx="2">
                  <c:v>12.84914950760967</c:v>
                </c:pt>
                <c:pt idx="3">
                  <c:v>12.157008203875019</c:v>
                </c:pt>
                <c:pt idx="4">
                  <c:v>12.33513818386915</c:v>
                </c:pt>
                <c:pt idx="5">
                  <c:v>8.22736976942784</c:v>
                </c:pt>
                <c:pt idx="6">
                  <c:v>14.358535614803021</c:v>
                </c:pt>
                <c:pt idx="7">
                  <c:v>13.83411115825202</c:v>
                </c:pt>
                <c:pt idx="8">
                  <c:v>6.0794592812396964</c:v>
                </c:pt>
              </c:numCache>
            </c:numRef>
          </c:xVal>
          <c:yVal>
            <c:numRef>
              <c:f>Sheet1!$B$2:$B$10</c:f>
              <c:numCache>
                <c:formatCode>General</c:formatCode>
                <c:ptCount val="9"/>
                <c:pt idx="0">
                  <c:v>1.147480298721504</c:v>
                </c:pt>
                <c:pt idx="1">
                  <c:v>1.494245077584315</c:v>
                </c:pt>
                <c:pt idx="2">
                  <c:v>1.1436635907053629</c:v>
                </c:pt>
                <c:pt idx="3">
                  <c:v>0.94999479365184158</c:v>
                </c:pt>
                <c:pt idx="4">
                  <c:v>1.062960861508863</c:v>
                </c:pt>
                <c:pt idx="5">
                  <c:v>0.56329537105805794</c:v>
                </c:pt>
                <c:pt idx="6">
                  <c:v>0.32502631283138061</c:v>
                </c:pt>
                <c:pt idx="7">
                  <c:v>0.69202953106395748</c:v>
                </c:pt>
                <c:pt idx="8">
                  <c:v>0.55614504410315446</c:v>
                </c:pt>
              </c:numCache>
            </c:numRef>
          </c:yVal>
          <c:bubbleSize>
            <c:numRef>
              <c:f>Sheet1!$C$2:$C$10</c:f>
              <c:numCache>
                <c:formatCode>General</c:formatCode>
                <c:ptCount val="9"/>
                <c:pt idx="0">
                  <c:v>894393</c:v>
                </c:pt>
                <c:pt idx="1">
                  <c:v>176649</c:v>
                </c:pt>
                <c:pt idx="2">
                  <c:v>172230</c:v>
                </c:pt>
                <c:pt idx="3">
                  <c:v>139295</c:v>
                </c:pt>
                <c:pt idx="4">
                  <c:v>109351</c:v>
                </c:pt>
                <c:pt idx="5">
                  <c:v>77074</c:v>
                </c:pt>
                <c:pt idx="6">
                  <c:v>36083</c:v>
                </c:pt>
                <c:pt idx="7">
                  <c:v>32607</c:v>
                </c:pt>
                <c:pt idx="8">
                  <c:v>184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Daisy</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601029-9E45-4A8A-A015-0847CBC44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C3F80F-F65C-4C78-B6F0-3641E8EDE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4D8885-4286-4401-9050-CDCB80CFE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736F81-8C85-422E-B483-3813A50FD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F7C789-4EBC-4D45-AD83-3B935F2EC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EEFB72-E2E7-40F7-8116-F6CAC2E96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8F4979-58EA-4C78-9C84-30BEDC933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779A3B-9526-458E-B1FC-BB0CE498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65345453588718</c:v>
                </c:pt>
                <c:pt idx="1">
                  <c:v>14.36996868112748</c:v>
                </c:pt>
                <c:pt idx="2">
                  <c:v>11.67255892255892</c:v>
                </c:pt>
                <c:pt idx="3">
                  <c:v>13.899067570840399</c:v>
                </c:pt>
                <c:pt idx="4">
                  <c:v>12.662141054908091</c:v>
                </c:pt>
                <c:pt idx="5">
                  <c:v>13.064576271186439</c:v>
                </c:pt>
              </c:numCache>
            </c:numRef>
          </c:xVal>
          <c:yVal>
            <c:numRef>
              <c:f>Sheet1!$B$2:$B$7</c:f>
              <c:numCache>
                <c:formatCode>General</c:formatCode>
                <c:ptCount val="6"/>
                <c:pt idx="0">
                  <c:v>1.2144265274295589</c:v>
                </c:pt>
                <c:pt idx="1">
                  <c:v>0.9536051995324033</c:v>
                </c:pt>
                <c:pt idx="2">
                  <c:v>0.89476206120602719</c:v>
                </c:pt>
                <c:pt idx="3">
                  <c:v>0.96812474241390978</c:v>
                </c:pt>
                <c:pt idx="4">
                  <c:v>0.85648457855787563</c:v>
                </c:pt>
                <c:pt idx="5">
                  <c:v>0.43053387187981951</c:v>
                </c:pt>
              </c:numCache>
            </c:numRef>
          </c:yVal>
          <c:bubbleSize>
            <c:numRef>
              <c:f>Sheet1!$C$2:$C$7</c:f>
              <c:numCache>
                <c:formatCode>General</c:formatCode>
                <c:ptCount val="6"/>
                <c:pt idx="0">
                  <c:v>1113897</c:v>
                </c:pt>
                <c:pt idx="1">
                  <c:v>247767</c:v>
                </c:pt>
                <c:pt idx="2">
                  <c:v>235739</c:v>
                </c:pt>
                <c:pt idx="3">
                  <c:v>229557</c:v>
                </c:pt>
                <c:pt idx="4">
                  <c:v>210774</c:v>
                </c:pt>
                <c:pt idx="5">
                  <c:v>770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A1816A-B6DF-44D6-B55E-98E5F9CCE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C62A3D-8DF6-476D-88DA-0E946F01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23E840-17F1-468D-8CB7-B0B173B53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CEB794-0AF6-4764-BFBC-4A7502516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E67A49-026F-41E8-B608-13DF038AE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480F4F-9DB8-41C2-9DA6-5861972FC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9B229D-B956-4D91-B252-903941396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3EBD3E-8FDE-4D4A-8FE0-FBED85E24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748723012361619</c:v>
                </c:pt>
                <c:pt idx="1">
                  <c:v>23.8997374671834</c:v>
                </c:pt>
                <c:pt idx="2">
                  <c:v>13.23098330241187</c:v>
                </c:pt>
                <c:pt idx="3">
                  <c:v>13.368335798295661</c:v>
                </c:pt>
                <c:pt idx="4">
                  <c:v>19.385097493036209</c:v>
                </c:pt>
                <c:pt idx="5">
                  <c:v>15.980835044490069</c:v>
                </c:pt>
              </c:numCache>
            </c:numRef>
          </c:xVal>
          <c:yVal>
            <c:numRef>
              <c:f>Sheet1!$B$2:$B$7</c:f>
              <c:numCache>
                <c:formatCode>General</c:formatCode>
                <c:ptCount val="6"/>
                <c:pt idx="0">
                  <c:v>1.1860982328813581</c:v>
                </c:pt>
                <c:pt idx="1">
                  <c:v>1.2369853984229591</c:v>
                </c:pt>
                <c:pt idx="2">
                  <c:v>0.61921767032716368</c:v>
                </c:pt>
                <c:pt idx="3">
                  <c:v>0.65463039050845073</c:v>
                </c:pt>
                <c:pt idx="4">
                  <c:v>1.1243363705081399</c:v>
                </c:pt>
                <c:pt idx="5">
                  <c:v>0.51364365882514196</c:v>
                </c:pt>
              </c:numCache>
            </c:numRef>
          </c:yVal>
          <c:bubbleSize>
            <c:numRef>
              <c:f>Sheet1!$C$2:$C$7</c:f>
              <c:numCache>
                <c:formatCode>General</c:formatCode>
                <c:ptCount val="6"/>
                <c:pt idx="0">
                  <c:v>1198016</c:v>
                </c:pt>
                <c:pt idx="1">
                  <c:v>382348</c:v>
                </c:pt>
                <c:pt idx="2">
                  <c:v>199682</c:v>
                </c:pt>
                <c:pt idx="3">
                  <c:v>189817</c:v>
                </c:pt>
                <c:pt idx="4">
                  <c:v>111348</c:v>
                </c:pt>
                <c:pt idx="5">
                  <c:v>4669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334F89-B9C7-4BF4-AC0B-B9094DA2D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5317A26-DE04-4D84-834C-7FE04AB0C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843D3F9-2DE9-4C8C-B671-285BBE606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8F1A6F-2367-43B2-AE5D-DDF600B8D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A87745-27F8-411E-86FC-C48CE7BF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D84256-6C93-4210-91CD-AD80FCF66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B1AD03-77C5-4796-90F8-DF69426BF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4BEECE-489A-4A60-8593-F083B6B91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c:v>
                </c:pt>
              </c:numCache>
            </c:numRef>
          </c:xVal>
          <c:yVal>
            <c:numRef>
              <c:f>Sheet1!$B$2:$B$2</c:f>
              <c:numCache>
                <c:formatCode>General</c:formatCode>
                <c:ptCount val="1"/>
                <c:pt idx="0">
                  <c:v>1</c:v>
                </c:pt>
              </c:numCache>
            </c:numRef>
          </c:yVal>
          <c:bubbleSize>
            <c:numRef>
              <c:f>Sheet1!$C$2:$C$2</c:f>
              <c:numCache>
                <c:formatCode>General</c:formatCode>
                <c:ptCount val="1"/>
                <c:pt idx="0">
                  <c:v>1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2891A-E40A-4835-8ADD-CD6470D21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FEA3A8-A4D8-496D-BAFD-46F4F063A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942CE-3716-4BFD-894C-8313D069B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AC625A-DCD5-43F1-A898-2802E96FF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E4664-EF3A-4BF9-9DFC-A17EC4A3B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61290C-9B9F-4833-B1F6-9491B04DB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6CDE6A-569D-4455-9066-C1C201C85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D44694-C8A2-4964-B710-0B8E9D261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69949506701415</c:v>
                </c:pt>
                <c:pt idx="1">
                  <c:v>13.552349064625851</c:v>
                </c:pt>
                <c:pt idx="2">
                  <c:v>13.04757496271151</c:v>
                </c:pt>
                <c:pt idx="3">
                  <c:v>11.34170044215181</c:v>
                </c:pt>
                <c:pt idx="4">
                  <c:v>12.465246899134099</c:v>
                </c:pt>
                <c:pt idx="5">
                  <c:v>12.459907985540591</c:v>
                </c:pt>
              </c:numCache>
            </c:numRef>
          </c:xVal>
          <c:yVal>
            <c:numRef>
              <c:f>Sheet1!$B$2:$B$7</c:f>
              <c:numCache>
                <c:formatCode>General</c:formatCode>
                <c:ptCount val="6"/>
                <c:pt idx="0">
                  <c:v>1.2177558227714289</c:v>
                </c:pt>
                <c:pt idx="1">
                  <c:v>0.96807979892472207</c:v>
                </c:pt>
                <c:pt idx="2">
                  <c:v>0.90641444460709908</c:v>
                </c:pt>
                <c:pt idx="3">
                  <c:v>0.91704273153513549</c:v>
                </c:pt>
                <c:pt idx="4">
                  <c:v>0.86744683332832917</c:v>
                </c:pt>
                <c:pt idx="5">
                  <c:v>0.43244357515579279</c:v>
                </c:pt>
              </c:numCache>
            </c:numRef>
          </c:yVal>
          <c:bubbleSize>
            <c:numRef>
              <c:f>Sheet1!$C$2:$C$7</c:f>
              <c:numCache>
                <c:formatCode>General</c:formatCode>
                <c:ptCount val="6"/>
                <c:pt idx="0">
                  <c:v>1177499</c:v>
                </c:pt>
                <c:pt idx="1">
                  <c:v>255001</c:v>
                </c:pt>
                <c:pt idx="2">
                  <c:v>253684</c:v>
                </c:pt>
                <c:pt idx="3">
                  <c:v>246251</c:v>
                </c:pt>
                <c:pt idx="4">
                  <c:v>213056</c:v>
                </c:pt>
                <c:pt idx="5">
                  <c:v>7583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E951B7-EE4C-4DD7-8E03-3D68B8684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D29BA2-81E6-4F57-8CE5-CA6BC2D2D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229366-53FF-41AC-B261-374101B84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0334CC-524B-471F-84CE-785ED89EB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4C50A2-8F04-44AA-B379-AB278ECE6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0F575E-D170-4544-AF42-68E58B83E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C181F6-0730-4F08-8536-FFA2A930E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79801E-8478-47EB-AE4F-BF4345488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34927801133248</c:v>
                </c:pt>
                <c:pt idx="1">
                  <c:v>23.117471814942459</c:v>
                </c:pt>
                <c:pt idx="2">
                  <c:v>12.962215320910969</c:v>
                </c:pt>
                <c:pt idx="3">
                  <c:v>12.478334233261339</c:v>
                </c:pt>
                <c:pt idx="4">
                  <c:v>19.180050188205769</c:v>
                </c:pt>
                <c:pt idx="5">
                  <c:v>15.36339600470035</c:v>
                </c:pt>
              </c:numCache>
            </c:numRef>
          </c:xVal>
          <c:yVal>
            <c:numRef>
              <c:f>Sheet1!$B$2:$B$7</c:f>
              <c:numCache>
                <c:formatCode>General</c:formatCode>
                <c:ptCount val="6"/>
                <c:pt idx="0">
                  <c:v>1.1718179185544031</c:v>
                </c:pt>
                <c:pt idx="1">
                  <c:v>1.262044105695374</c:v>
                </c:pt>
                <c:pt idx="2">
                  <c:v>0.66648509362783448</c:v>
                </c:pt>
                <c:pt idx="3">
                  <c:v>0.61397654582399952</c:v>
                </c:pt>
                <c:pt idx="4">
                  <c:v>1.160813456224508</c:v>
                </c:pt>
                <c:pt idx="5">
                  <c:v>0.51328451931397467</c:v>
                </c:pt>
              </c:numCache>
            </c:numRef>
          </c:yVal>
          <c:bubbleSize>
            <c:numRef>
              <c:f>Sheet1!$C$2:$C$7</c:f>
              <c:numCache>
                <c:formatCode>General</c:formatCode>
                <c:ptCount val="6"/>
                <c:pt idx="0">
                  <c:v>1168019</c:v>
                </c:pt>
                <c:pt idx="1">
                  <c:v>395748</c:v>
                </c:pt>
                <c:pt idx="2">
                  <c:v>200344</c:v>
                </c:pt>
                <c:pt idx="3">
                  <c:v>184879</c:v>
                </c:pt>
                <c:pt idx="4">
                  <c:v>122292</c:v>
                </c:pt>
                <c:pt idx="5">
                  <c:v>5229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F72115-A9D8-464B-AFAA-990260F2E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326CC01-3BC5-41E7-AB75-7C56D95CB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7816639-FDAD-46ED-B6B0-F6B5B9EEF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55812E-FCCB-43A6-BA7E-4E430EC6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E2837B-745A-4609-AD33-2462F0F2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426B62-18F3-4FC5-B7CC-FFCD34DE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CA94FF-6BC5-4F1C-A9B5-DF91C1D6F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25CD3E-C0DB-4E71-8E8E-DC1B1B6EA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666666666666667</c:v>
                </c:pt>
              </c:numCache>
            </c:numRef>
          </c:xVal>
          <c:yVal>
            <c:numRef>
              <c:f>Sheet1!$B$2:$B$2</c:f>
              <c:numCache>
                <c:formatCode>General</c:formatCode>
                <c:ptCount val="1"/>
                <c:pt idx="0">
                  <c:v>1</c:v>
                </c:pt>
              </c:numCache>
            </c:numRef>
          </c:yVal>
          <c:bubbleSize>
            <c:numRef>
              <c:f>Sheet1!$C$2:$C$2</c:f>
              <c:numCache>
                <c:formatCode>General</c:formatCode>
                <c:ptCount val="1"/>
                <c:pt idx="0">
                  <c:v>3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757593-E900-4410-9B1F-C390C9879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31EDF1-E25F-485D-B7CB-B88EC2B39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057D8E-2AB2-424D-B997-A54A7C80D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F90FF8-8D9E-42D1-85D3-6D0B7B6E4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B4451B-2D4E-45A2-8536-25E7043F7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671CD-798D-466F-8419-560564EE5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9F4CC9-5620-49B0-A808-C6A373D3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94A24D-9A49-4D7C-AD5B-C92CCDBE9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19865331352486</c:v>
                </c:pt>
                <c:pt idx="1">
                  <c:v>14.67133479212254</c:v>
                </c:pt>
                <c:pt idx="2">
                  <c:v>11.705731384095079</c:v>
                </c:pt>
                <c:pt idx="3">
                  <c:v>12.749703698658131</c:v>
                </c:pt>
                <c:pt idx="4">
                  <c:v>14.00691200605984</c:v>
                </c:pt>
                <c:pt idx="5">
                  <c:v>13.03194015673237</c:v>
                </c:pt>
              </c:numCache>
            </c:numRef>
          </c:xVal>
          <c:yVal>
            <c:numRef>
              <c:f>Sheet1!$B$2:$B$7</c:f>
              <c:numCache>
                <c:formatCode>General</c:formatCode>
                <c:ptCount val="6"/>
                <c:pt idx="0">
                  <c:v>1.211240203677808</c:v>
                </c:pt>
                <c:pt idx="1">
                  <c:v>0.94057755982898927</c:v>
                </c:pt>
                <c:pt idx="2">
                  <c:v>0.87975401388404206</c:v>
                </c:pt>
                <c:pt idx="3">
                  <c:v>0.84644792988126849</c:v>
                </c:pt>
                <c:pt idx="4">
                  <c:v>0.97927443966727468</c:v>
                </c:pt>
                <c:pt idx="5">
                  <c:v>0.42497006403672039</c:v>
                </c:pt>
              </c:numCache>
            </c:numRef>
          </c:yVal>
          <c:bubbleSize>
            <c:numRef>
              <c:f>Sheet1!$C$2:$C$7</c:f>
              <c:numCache>
                <c:formatCode>General</c:formatCode>
                <c:ptCount val="6"/>
                <c:pt idx="0">
                  <c:v>4900365</c:v>
                </c:pt>
                <c:pt idx="1">
                  <c:v>1005720</c:v>
                </c:pt>
                <c:pt idx="2">
                  <c:v>976059</c:v>
                </c:pt>
                <c:pt idx="3">
                  <c:v>935892</c:v>
                </c:pt>
                <c:pt idx="4">
                  <c:v>887590</c:v>
                </c:pt>
                <c:pt idx="5">
                  <c:v>3292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1AED09-E75F-4BD9-9F2A-9C38FCA2B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70D3BA-687F-449D-A896-B041FBB6E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BB0079-C78F-4994-9140-8545F5DDF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2E74F5-CCDB-4452-803C-B89D7BBC2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329F40-070F-4C75-A9C6-DBB97275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F87AA4-43B7-45A3-9397-2C88D511A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B02C80-BE38-4DDD-8D22-CB80E5B02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D2D32A-4658-4DFC-A932-C8A5A980C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24313698516076</c:v>
                </c:pt>
                <c:pt idx="1">
                  <c:v>24.392225126651091</c:v>
                </c:pt>
                <c:pt idx="2">
                  <c:v>13.48707841858811</c:v>
                </c:pt>
                <c:pt idx="3">
                  <c:v>13.371031204329739</c:v>
                </c:pt>
                <c:pt idx="4">
                  <c:v>20.264631043257001</c:v>
                </c:pt>
                <c:pt idx="5">
                  <c:v>16.011821129424479</c:v>
                </c:pt>
              </c:numCache>
            </c:numRef>
          </c:xVal>
          <c:yVal>
            <c:numRef>
              <c:f>Sheet1!$B$2:$B$7</c:f>
              <c:numCache>
                <c:formatCode>General</c:formatCode>
                <c:ptCount val="6"/>
                <c:pt idx="0">
                  <c:v>1.1677954387093881</c:v>
                </c:pt>
                <c:pt idx="1">
                  <c:v>1.194910039558351</c:v>
                </c:pt>
                <c:pt idx="2">
                  <c:v>0.60525252798897988</c:v>
                </c:pt>
                <c:pt idx="3">
                  <c:v>0.62947183869008794</c:v>
                </c:pt>
                <c:pt idx="4">
                  <c:v>1.1460241498188499</c:v>
                </c:pt>
                <c:pt idx="5">
                  <c:v>0.50722298177544345</c:v>
                </c:pt>
              </c:numCache>
            </c:numRef>
          </c:yVal>
          <c:bubbleSize>
            <c:numRef>
              <c:f>Sheet1!$C$2:$C$7</c:f>
              <c:numCache>
                <c:formatCode>General</c:formatCode>
                <c:ptCount val="6"/>
                <c:pt idx="0">
                  <c:v>6420382</c:v>
                </c:pt>
                <c:pt idx="1">
                  <c:v>2108903</c:v>
                </c:pt>
                <c:pt idx="2">
                  <c:v>910162</c:v>
                </c:pt>
                <c:pt idx="3">
                  <c:v>832574</c:v>
                </c:pt>
                <c:pt idx="4">
                  <c:v>533588</c:v>
                </c:pt>
                <c:pt idx="5">
                  <c:v>2370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E94E68-EBF3-4924-ABE0-7FEF6E628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4F47079-C62D-44B5-B4F1-01004506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C8EB17-AF92-4A3E-A31C-C59A3E8AF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2CDE7C-F59A-493E-826C-8101AF484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FFE713F-18BC-4053-98C3-6FFF9CD16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E0C92B-C596-4755-A080-BD6A87AB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046F11-B35B-4045-95D6-26B7FF9FA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5CDB31-D04D-495E-ADD4-080B5E1F0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33333333333333</c:v>
                </c:pt>
              </c:numCache>
            </c:numRef>
          </c:xVal>
          <c:yVal>
            <c:numRef>
              <c:f>Sheet1!$B$2:$B$2</c:f>
              <c:numCache>
                <c:formatCode>General</c:formatCode>
                <c:ptCount val="1"/>
                <c:pt idx="0">
                  <c:v>1</c:v>
                </c:pt>
              </c:numCache>
            </c:numRef>
          </c:yVal>
          <c:bubbleSize>
            <c:numRef>
              <c:f>Sheet1!$C$2:$C$2</c:f>
              <c:numCache>
                <c:formatCode>General</c:formatCode>
                <c:ptCount val="1"/>
                <c:pt idx="0">
                  <c:v>3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F216B9-568F-4FDA-B2D9-822DBB340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5890B0-0A79-4087-B4D7-4C2CBC44A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73F034-CB88-4615-A87F-4E4B2F3CB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07587E-C0A6-42AF-B047-FEECA4C4D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3FB440-3A6E-460B-A5CF-A54A3D586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D297F4-47BC-4475-879A-5706E9D72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FF3980-F66F-4941-AD6D-7F08DC04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7BB4B4-0BFA-453F-8C14-DEC398D46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99088151417725</c:v>
                </c:pt>
                <c:pt idx="1">
                  <c:v>13.55088949390221</c:v>
                </c:pt>
                <c:pt idx="2">
                  <c:v>11.3207645616293</c:v>
                </c:pt>
                <c:pt idx="3">
                  <c:v>13.270497952884179</c:v>
                </c:pt>
                <c:pt idx="4">
                  <c:v>12.50258687591618</c:v>
                </c:pt>
                <c:pt idx="5">
                  <c:v>12.250857843137251</c:v>
                </c:pt>
              </c:numCache>
            </c:numRef>
          </c:xVal>
          <c:yVal>
            <c:numRef>
              <c:f>Sheet1!$B$2:$B$7</c:f>
              <c:numCache>
                <c:formatCode>General</c:formatCode>
                <c:ptCount val="6"/>
                <c:pt idx="0">
                  <c:v>1.2293645723830851</c:v>
                </c:pt>
                <c:pt idx="1">
                  <c:v>0.94538960163881802</c:v>
                </c:pt>
                <c:pt idx="2">
                  <c:v>0.9028909114493584</c:v>
                </c:pt>
                <c:pt idx="3">
                  <c:v>0.93125956393254727</c:v>
                </c:pt>
                <c:pt idx="4">
                  <c:v>0.87195635361226098</c:v>
                </c:pt>
                <c:pt idx="5">
                  <c:v>0.41971583329874601</c:v>
                </c:pt>
              </c:numCache>
            </c:numRef>
          </c:yVal>
          <c:bubbleSize>
            <c:numRef>
              <c:f>Sheet1!$C$2:$C$7</c:f>
              <c:numCache>
                <c:formatCode>General</c:formatCode>
                <c:ptCount val="6"/>
                <c:pt idx="0">
                  <c:v>3080960</c:v>
                </c:pt>
                <c:pt idx="1">
                  <c:v>726680</c:v>
                </c:pt>
                <c:pt idx="2">
                  <c:v>650910</c:v>
                </c:pt>
                <c:pt idx="3">
                  <c:v>619082</c:v>
                </c:pt>
                <c:pt idx="4">
                  <c:v>579970</c:v>
                </c:pt>
                <c:pt idx="5">
                  <c:v>1999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33FED4-05F9-47A8-89A9-DD19F71ED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0A2F5F-44DA-4935-B7F3-2943E5BC0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E7CDC2-8AE4-47E4-96B4-A2BE1774C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BAD97C-CE2E-4B47-95A0-B55E1791D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4DA6CF-2580-4722-BEFA-8C4053723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7C4D0D-4E9A-4D9E-9E16-6CD74DB39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8EDE11-B7E1-4DBB-9C8B-99AF9CCE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DC327D-7665-46D7-B7AC-287964FB6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92481087633691</c:v>
                </c:pt>
                <c:pt idx="1">
                  <c:v>18.504183010121508</c:v>
                </c:pt>
                <c:pt idx="2">
                  <c:v>13.0857230643179</c:v>
                </c:pt>
                <c:pt idx="3">
                  <c:v>12.38486257707179</c:v>
                </c:pt>
                <c:pt idx="4">
                  <c:v>12.387947269303201</c:v>
                </c:pt>
                <c:pt idx="5">
                  <c:v>8.2012376532190885</c:v>
                </c:pt>
                <c:pt idx="6">
                  <c:v>14.030491951938339</c:v>
                </c:pt>
                <c:pt idx="7">
                  <c:v>14.88006891068116</c:v>
                </c:pt>
                <c:pt idx="8">
                  <c:v>6.0289962825278813</c:v>
                </c:pt>
              </c:numCache>
            </c:numRef>
          </c:xVal>
          <c:yVal>
            <c:numRef>
              <c:f>Sheet1!$B$2:$B$10</c:f>
              <c:numCache>
                <c:formatCode>General</c:formatCode>
                <c:ptCount val="9"/>
                <c:pt idx="0">
                  <c:v>1.12434710595456</c:v>
                </c:pt>
                <c:pt idx="1">
                  <c:v>1.490004933518642</c:v>
                </c:pt>
                <c:pt idx="2">
                  <c:v>1.152220912672465</c:v>
                </c:pt>
                <c:pt idx="3">
                  <c:v>0.96446841399634242</c:v>
                </c:pt>
                <c:pt idx="4">
                  <c:v>1.062007014106767</c:v>
                </c:pt>
                <c:pt idx="5">
                  <c:v>0.553630577085376</c:v>
                </c:pt>
                <c:pt idx="6">
                  <c:v>0.68279088491236439</c:v>
                </c:pt>
                <c:pt idx="7">
                  <c:v>0.33244108833629782</c:v>
                </c:pt>
                <c:pt idx="8">
                  <c:v>0.54154878127896611</c:v>
                </c:pt>
              </c:numCache>
            </c:numRef>
          </c:yVal>
          <c:bubbleSize>
            <c:numRef>
              <c:f>Sheet1!$C$2:$C$10</c:f>
              <c:numCache>
                <c:formatCode>General</c:formatCode>
                <c:ptCount val="9"/>
                <c:pt idx="0">
                  <c:v>3629864</c:v>
                </c:pt>
                <c:pt idx="1">
                  <c:v>674607</c:v>
                </c:pt>
                <c:pt idx="2">
                  <c:v>638845</c:v>
                </c:pt>
                <c:pt idx="3">
                  <c:v>474043</c:v>
                </c:pt>
                <c:pt idx="4">
                  <c:v>453882</c:v>
                </c:pt>
                <c:pt idx="5">
                  <c:v>344575</c:v>
                </c:pt>
                <c:pt idx="6">
                  <c:v>123777</c:v>
                </c:pt>
                <c:pt idx="7">
                  <c:v>112285</c:v>
                </c:pt>
                <c:pt idx="8">
                  <c:v>729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9280BD-D4CF-45CD-9B2D-21CECCDB1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495FD8-4CF6-4824-8604-D94451A41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36E0B1-725E-42C9-923E-B2311CB7E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1D016C-C118-4F72-BD2D-15F5A698D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A2D6AE-0620-48EC-BB75-C551ABC38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CC56F8-DBEA-4B1D-A8F5-4F010D2C7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9AD7F7-403D-41A9-8D0F-9E92F5E7B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3EBFE1-50BB-4E1D-A0DC-1292A87EB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192915756051299</c:v>
                </c:pt>
                <c:pt idx="1">
                  <c:v>22.60629675810474</c:v>
                </c:pt>
                <c:pt idx="2">
                  <c:v>12.876070171752721</c:v>
                </c:pt>
                <c:pt idx="3">
                  <c:v>12.318034588466659</c:v>
                </c:pt>
                <c:pt idx="4">
                  <c:v>18.763614144962961</c:v>
                </c:pt>
                <c:pt idx="5">
                  <c:v>15.26544807505662</c:v>
                </c:pt>
              </c:numCache>
            </c:numRef>
          </c:xVal>
          <c:yVal>
            <c:numRef>
              <c:f>Sheet1!$B$2:$B$7</c:f>
              <c:numCache>
                <c:formatCode>General</c:formatCode>
                <c:ptCount val="6"/>
                <c:pt idx="0">
                  <c:v>1.1778067835347661</c:v>
                </c:pt>
                <c:pt idx="1">
                  <c:v>1.2777284809606599</c:v>
                </c:pt>
                <c:pt idx="2">
                  <c:v>0.6684465723736156</c:v>
                </c:pt>
                <c:pt idx="3">
                  <c:v>0.61867121893177002</c:v>
                </c:pt>
                <c:pt idx="4">
                  <c:v>1.1408047280551401</c:v>
                </c:pt>
                <c:pt idx="5">
                  <c:v>0.51200635612961187</c:v>
                </c:pt>
              </c:numCache>
            </c:numRef>
          </c:yVal>
          <c:bubbleSize>
            <c:numRef>
              <c:f>Sheet1!$C$2:$C$7</c:f>
              <c:numCache>
                <c:formatCode>General</c:formatCode>
                <c:ptCount val="6"/>
                <c:pt idx="0">
                  <c:v>2569747</c:v>
                </c:pt>
                <c:pt idx="1">
                  <c:v>870252</c:v>
                </c:pt>
                <c:pt idx="2">
                  <c:v>490295</c:v>
                </c:pt>
                <c:pt idx="3">
                  <c:v>425933</c:v>
                </c:pt>
                <c:pt idx="4">
                  <c:v>245672</c:v>
                </c:pt>
                <c:pt idx="5">
                  <c:v>9437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C7EB3F-BB6B-4CF7-A57F-6FF071DA0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D5EF3F2-D56B-479F-8A44-FC74CF4E4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65F934F-B3F5-432E-AB8C-91921268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5D1721-AE91-41A2-A99A-21C68589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BC7012-9EF0-450D-A34B-058D36671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4D40644-5F5F-44DD-9B80-CA50F8415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2C803-06B2-4D9F-836B-F6A09F307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F9F362-3DB9-4408-A5E6-5C0196613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4</c:v>
                </c:pt>
              </c:numCache>
            </c:numRef>
          </c:xVal>
          <c:yVal>
            <c:numRef>
              <c:f>Sheet1!$B$2:$B$2</c:f>
              <c:numCache>
                <c:formatCode>General</c:formatCode>
                <c:ptCount val="1"/>
                <c:pt idx="0">
                  <c:v>1</c:v>
                </c:pt>
              </c:numCache>
            </c:numRef>
          </c:yVal>
          <c:bubbleSize>
            <c:numRef>
              <c:f>Sheet1!$C$2:$C$2</c:f>
              <c:numCache>
                <c:formatCode>General</c:formatCode>
                <c:ptCount val="1"/>
                <c:pt idx="0">
                  <c:v>3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A16C2A-649B-4AA0-9341-701D69464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775E9B-DA6F-45E0-9473-E2140AC05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44A827-EDE1-400C-9169-0621D6917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3C8430-357E-485A-9CF1-34B39B94E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15E1FB-C0B1-4173-93E9-1A8097508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478AE4-83A0-48A0-BC7E-8B3AA484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1AF796-3B0F-4483-8E99-13F509C98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BCBF3E-EAD1-43DB-A5E9-13FA7FB2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22467042516214</c:v>
                </c:pt>
                <c:pt idx="1">
                  <c:v>12.717073694764739</c:v>
                </c:pt>
                <c:pt idx="2">
                  <c:v>13.473775995117061</c:v>
                </c:pt>
                <c:pt idx="3">
                  <c:v>11.49392678518892</c:v>
                </c:pt>
                <c:pt idx="4">
                  <c:v>12.532429816069699</c:v>
                </c:pt>
                <c:pt idx="5">
                  <c:v>12.44772998805257</c:v>
                </c:pt>
              </c:numCache>
            </c:numRef>
          </c:xVal>
          <c:yVal>
            <c:numRef>
              <c:f>Sheet1!$B$2:$B$7</c:f>
              <c:numCache>
                <c:formatCode>General</c:formatCode>
                <c:ptCount val="6"/>
                <c:pt idx="0">
                  <c:v>1.220311812258625</c:v>
                </c:pt>
                <c:pt idx="1">
                  <c:v>0.84940667417007543</c:v>
                </c:pt>
                <c:pt idx="2">
                  <c:v>0.94068073992306134</c:v>
                </c:pt>
                <c:pt idx="3">
                  <c:v>0.90916874918125057</c:v>
                </c:pt>
                <c:pt idx="4">
                  <c:v>0.86508181737437151</c:v>
                </c:pt>
                <c:pt idx="5">
                  <c:v>0.42426001704816008</c:v>
                </c:pt>
              </c:numCache>
            </c:numRef>
          </c:yVal>
          <c:bubbleSize>
            <c:numRef>
              <c:f>Sheet1!$C$2:$C$7</c:f>
              <c:numCache>
                <c:formatCode>General</c:formatCode>
                <c:ptCount val="6"/>
                <c:pt idx="0">
                  <c:v>1559916</c:v>
                </c:pt>
                <c:pt idx="1">
                  <c:v>355137</c:v>
                </c:pt>
                <c:pt idx="2">
                  <c:v>309048</c:v>
                </c:pt>
                <c:pt idx="3">
                  <c:v>273475</c:v>
                </c:pt>
                <c:pt idx="4">
                  <c:v>245974</c:v>
                </c:pt>
                <c:pt idx="5">
                  <c:v>8335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A023C9-4D7D-463A-B779-B884D29DF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74F64A-93CF-4AB9-9FA2-8E3451EDE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23F758-B5C8-476E-8536-05E7893AC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E572FB-918E-48D3-9C44-F6AD0BD82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623A82-1D5A-4E6F-8D64-E50567158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B0044D-C633-4944-884A-53BE410ED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D4C23F-E461-4FA6-BE1C-781A5E906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6E4FBF-EEB2-4C02-B712-73B98B52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562773476943789</c:v>
                </c:pt>
                <c:pt idx="1">
                  <c:v>23.13332259882457</c:v>
                </c:pt>
                <c:pt idx="2">
                  <c:v>13.10997267759563</c:v>
                </c:pt>
                <c:pt idx="3">
                  <c:v>12.33937241829118</c:v>
                </c:pt>
                <c:pt idx="4">
                  <c:v>18.136733067729079</c:v>
                </c:pt>
                <c:pt idx="5">
                  <c:v>15.389539748953981</c:v>
                </c:pt>
              </c:numCache>
            </c:numRef>
          </c:xVal>
          <c:yVal>
            <c:numRef>
              <c:f>Sheet1!$B$2:$B$7</c:f>
              <c:numCache>
                <c:formatCode>General</c:formatCode>
                <c:ptCount val="6"/>
                <c:pt idx="0">
                  <c:v>1.1894664821345919</c:v>
                </c:pt>
                <c:pt idx="1">
                  <c:v>1.307404035258978</c:v>
                </c:pt>
                <c:pt idx="2">
                  <c:v>0.67094157752051298</c:v>
                </c:pt>
                <c:pt idx="3">
                  <c:v>0.62244513493448483</c:v>
                </c:pt>
                <c:pt idx="4">
                  <c:v>1.0908717474434451</c:v>
                </c:pt>
                <c:pt idx="5">
                  <c:v>0.50906104863294077</c:v>
                </c:pt>
              </c:numCache>
            </c:numRef>
          </c:yVal>
          <c:bubbleSize>
            <c:numRef>
              <c:f>Sheet1!$C$2:$C$7</c:f>
              <c:numCache>
                <c:formatCode>General</c:formatCode>
                <c:ptCount val="6"/>
                <c:pt idx="0">
                  <c:v>1025008</c:v>
                </c:pt>
                <c:pt idx="1">
                  <c:v>287339</c:v>
                </c:pt>
                <c:pt idx="2">
                  <c:v>191930</c:v>
                </c:pt>
                <c:pt idx="3">
                  <c:v>170271</c:v>
                </c:pt>
                <c:pt idx="4">
                  <c:v>113808</c:v>
                </c:pt>
                <c:pt idx="5">
                  <c:v>367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63FFE9-7546-40FC-82BD-719E9C8ED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53F6203-2CBE-4D52-AC03-2CF7F1815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147EC9-303B-4F2A-815D-FA632E8C4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EA82F9-ECAC-49D3-83F4-E12D86B48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968A264-1E31-40D9-A279-68600AA3E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4A3800-9F8F-420F-B1B3-E0A12F44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9DD657-66E5-450A-AF11-327EBF736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1C870B-BD84-4B21-A194-F8D1AC33E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666666666666667</c:v>
                </c:pt>
              </c:numCache>
            </c:numRef>
          </c:xVal>
          <c:yVal>
            <c:numRef>
              <c:f>Sheet1!$B$2:$B$2</c:f>
              <c:numCache>
                <c:formatCode>General</c:formatCode>
                <c:ptCount val="1"/>
                <c:pt idx="0">
                  <c:v>1</c:v>
                </c:pt>
              </c:numCache>
            </c:numRef>
          </c:yVal>
          <c:bubbleSize>
            <c:numRef>
              <c:f>Sheet1!$C$2:$C$2</c:f>
              <c:numCache>
                <c:formatCode>General</c:formatCode>
                <c:ptCount val="1"/>
                <c:pt idx="0">
                  <c:v>8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F0F5C7-2C1F-4516-9771-6F05B63B0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980F7A-EFC4-4FD6-AF1B-8D95B8C09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14169C-9423-40DF-AEB3-C41ED26BB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D0D07B-62D7-444C-947F-47B9BA014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BC40E1-5839-4A59-81B4-61EB7788F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33CEED-30B9-498E-B213-C72A79448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EB025A-8021-419C-A3CE-54F9FC6AC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7FA5DE-4664-4959-A525-952866D97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69277860688941</c:v>
                </c:pt>
                <c:pt idx="1">
                  <c:v>13.42343419165358</c:v>
                </c:pt>
                <c:pt idx="2">
                  <c:v>12.64740510183368</c:v>
                </c:pt>
                <c:pt idx="3">
                  <c:v>11.59297533760223</c:v>
                </c:pt>
                <c:pt idx="4">
                  <c:v>14.216742485438539</c:v>
                </c:pt>
                <c:pt idx="5">
                  <c:v>12.740317775571</c:v>
                </c:pt>
              </c:numCache>
            </c:numRef>
          </c:xVal>
          <c:yVal>
            <c:numRef>
              <c:f>Sheet1!$B$2:$B$7</c:f>
              <c:numCache>
                <c:formatCode>General</c:formatCode>
                <c:ptCount val="6"/>
                <c:pt idx="0">
                  <c:v>1.2143607882261449</c:v>
                </c:pt>
                <c:pt idx="1">
                  <c:v>0.93276796328762279</c:v>
                </c:pt>
                <c:pt idx="2">
                  <c:v>0.86346678600522131</c:v>
                </c:pt>
                <c:pt idx="3">
                  <c:v>0.89973003098372129</c:v>
                </c:pt>
                <c:pt idx="4">
                  <c:v>0.94075274678682308</c:v>
                </c:pt>
                <c:pt idx="5">
                  <c:v>0.42949774398908658</c:v>
                </c:pt>
              </c:numCache>
            </c:numRef>
          </c:yVal>
          <c:bubbleSize>
            <c:numRef>
              <c:f>Sheet1!$C$2:$C$7</c:f>
              <c:numCache>
                <c:formatCode>General</c:formatCode>
                <c:ptCount val="6"/>
                <c:pt idx="0">
                  <c:v>1887146</c:v>
                </c:pt>
                <c:pt idx="1">
                  <c:v>393065</c:v>
                </c:pt>
                <c:pt idx="2">
                  <c:v>373832</c:v>
                </c:pt>
                <c:pt idx="3">
                  <c:v>365712</c:v>
                </c:pt>
                <c:pt idx="4">
                  <c:v>334392</c:v>
                </c:pt>
                <c:pt idx="5">
                  <c:v>12829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Flamingo</c:v>
                  </c:pt>
                  <c:pt idx="3">
                    <c:v>Billie</c:v>
                  </c:pt>
                  <c:pt idx="4">
                    <c:v>Intuition</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542631-2640-4E24-9F40-9388FD6EF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D01BFC-8AA7-4F4A-A584-BB7C7E97B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E9511E-EB89-4A23-A274-193B748BC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EECD8B-D0F9-4A52-A9F1-DBA9D4B23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836FE9-3088-478E-9C7E-AC92882E9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AD6AA6-127A-4C47-9947-FC15D982C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54AC15-D947-42BD-8C44-50FC7C06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D9F449-62A1-4EA4-8464-A1DFCB375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185187163632961</c:v>
                </c:pt>
                <c:pt idx="1">
                  <c:v>24.63157570151095</c:v>
                </c:pt>
                <c:pt idx="2">
                  <c:v>12.89787514412782</c:v>
                </c:pt>
                <c:pt idx="3">
                  <c:v>13.240121917428651</c:v>
                </c:pt>
                <c:pt idx="4">
                  <c:v>19.726336961665879</c:v>
                </c:pt>
                <c:pt idx="5">
                  <c:v>16.021799116997791</c:v>
                </c:pt>
              </c:numCache>
            </c:numRef>
          </c:xVal>
          <c:yVal>
            <c:numRef>
              <c:f>Sheet1!$B$2:$B$7</c:f>
              <c:numCache>
                <c:formatCode>General</c:formatCode>
                <c:ptCount val="6"/>
                <c:pt idx="0">
                  <c:v>1.1907590211562959</c:v>
                </c:pt>
                <c:pt idx="1">
                  <c:v>1.273799281858583</c:v>
                </c:pt>
                <c:pt idx="2">
                  <c:v>0.62041241898269905</c:v>
                </c:pt>
                <c:pt idx="3">
                  <c:v>0.6511199815448937</c:v>
                </c:pt>
                <c:pt idx="4">
                  <c:v>1.151405377698727</c:v>
                </c:pt>
                <c:pt idx="5">
                  <c:v>0.53529783189285807</c:v>
                </c:pt>
              </c:numCache>
            </c:numRef>
          </c:yVal>
          <c:bubbleSize>
            <c:numRef>
              <c:f>Sheet1!$C$2:$C$7</c:f>
              <c:numCache>
                <c:formatCode>General</c:formatCode>
                <c:ptCount val="6"/>
                <c:pt idx="0">
                  <c:v>1736130</c:v>
                </c:pt>
                <c:pt idx="1">
                  <c:v>399401</c:v>
                </c:pt>
                <c:pt idx="2">
                  <c:v>313212</c:v>
                </c:pt>
                <c:pt idx="3">
                  <c:v>238918</c:v>
                </c:pt>
                <c:pt idx="4">
                  <c:v>166727</c:v>
                </c:pt>
                <c:pt idx="5">
                  <c:v>5806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29E185-9836-4A10-A78A-99E1FC548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3AE7DC-92BB-448D-9A40-A5293F785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1005B-C1F0-4944-BBF3-427D7AE5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3C0034A-2343-4A9D-8CF7-F048261D5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15B6D8-B62F-4661-B468-F64FC8B6B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2A2FCA-FD08-45DA-BC8F-8BEE6993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30489B-A216-4428-B4C8-41A06DE4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6F0A24-4EB7-48B4-AF04-70E95098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0185676392572942</c:v>
                </c:pt>
                <c:pt idx="1">
                  <c:v>6.716814159292035</c:v>
                </c:pt>
                <c:pt idx="2">
                  <c:v>5.814516129032258</c:v>
                </c:pt>
              </c:numCache>
            </c:numRef>
          </c:xVal>
          <c:yVal>
            <c:numRef>
              <c:f>Sheet1!$B$2:$B$4</c:f>
              <c:numCache>
                <c:formatCode>General</c:formatCode>
                <c:ptCount val="3"/>
                <c:pt idx="0">
                  <c:v>0.9175823991193377</c:v>
                </c:pt>
                <c:pt idx="1">
                  <c:v>1.1755538679961699</c:v>
                </c:pt>
                <c:pt idx="2">
                  <c:v>1.0154513817809621</c:v>
                </c:pt>
              </c:numCache>
            </c:numRef>
          </c:yVal>
          <c:bubbleSize>
            <c:numRef>
              <c:f>Sheet1!$C$2:$C$4</c:f>
              <c:numCache>
                <c:formatCode>General</c:formatCode>
                <c:ptCount val="3"/>
                <c:pt idx="0">
                  <c:v>2646</c:v>
                </c:pt>
                <c:pt idx="1">
                  <c:v>1518</c:v>
                </c:pt>
                <c:pt idx="2">
                  <c:v>721</c:v>
                </c:pt>
              </c:numCache>
            </c:numRef>
          </c:bubbleSize>
          <c:bubble3D val="0"/>
          <c:extLst>
            <c:ext xmlns:c15="http://schemas.microsoft.com/office/drawing/2012/chart" uri="{02D57815-91ED-43cb-92C2-25804820EDAC}">
              <c15:datalabelsRange>
                <c15:f>Sheet1!$E$2:$E$10</c15:f>
                <c15:dlblRangeCache>
                  <c:ptCount val="9"/>
                  <c:pt idx="0">
                    <c:v>Bic Easyrinse</c:v>
                  </c:pt>
                  <c:pt idx="1">
                    <c:v>Bic Soleil</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CD7669-BDB0-4317-AC96-D3FF0D79A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E56CD9-B36F-436F-969B-C35DDE9C9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76C781-9C08-440E-90B0-EB379CB7D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6C35BC-A7CC-492B-BD19-157C879EB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5346E5-DEDA-401B-B9EA-480F54E4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42BF6D-F59F-4499-B864-694CD9559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DDC26E-A2F9-4652-A48E-50513029F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63DA61-DA5A-46DF-8BEA-CE0B0D5E8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862337915569849</c:v>
                </c:pt>
                <c:pt idx="1">
                  <c:v>13.872401662935721</c:v>
                </c:pt>
                <c:pt idx="2">
                  <c:v>10.357878787878789</c:v>
                </c:pt>
                <c:pt idx="3">
                  <c:v>11.12147651006711</c:v>
                </c:pt>
                <c:pt idx="4">
                  <c:v>10.57919075144509</c:v>
                </c:pt>
                <c:pt idx="5">
                  <c:v>6.1606217616580308</c:v>
                </c:pt>
                <c:pt idx="6">
                  <c:v>11.58333333333333</c:v>
                </c:pt>
              </c:numCache>
            </c:numRef>
          </c:xVal>
          <c:yVal>
            <c:numRef>
              <c:f>Sheet1!$B$2:$B$8</c:f>
              <c:numCache>
                <c:formatCode>General</c:formatCode>
                <c:ptCount val="7"/>
                <c:pt idx="0">
                  <c:v>1.113034176206573</c:v>
                </c:pt>
                <c:pt idx="1">
                  <c:v>1.724558681529621</c:v>
                </c:pt>
                <c:pt idx="2">
                  <c:v>0.91673525653837507</c:v>
                </c:pt>
                <c:pt idx="3">
                  <c:v>0.75324045600985123</c:v>
                </c:pt>
                <c:pt idx="4">
                  <c:v>0.74827151873463504</c:v>
                </c:pt>
                <c:pt idx="5">
                  <c:v>0.54655078378653943</c:v>
                </c:pt>
                <c:pt idx="6">
                  <c:v>0.90588517306603866</c:v>
                </c:pt>
              </c:numCache>
            </c:numRef>
          </c:yVal>
          <c:bubbleSize>
            <c:numRef>
              <c:f>Sheet1!$C$2:$C$8</c:f>
              <c:numCache>
                <c:formatCode>General</c:formatCode>
                <c:ptCount val="7"/>
                <c:pt idx="0">
                  <c:v>131929</c:v>
                </c:pt>
                <c:pt idx="1">
                  <c:v>43379</c:v>
                </c:pt>
                <c:pt idx="2">
                  <c:v>34181</c:v>
                </c:pt>
                <c:pt idx="3">
                  <c:v>33142</c:v>
                </c:pt>
                <c:pt idx="4">
                  <c:v>27453</c:v>
                </c:pt>
                <c:pt idx="5">
                  <c:v>9512</c:v>
                </c:pt>
                <c:pt idx="6">
                  <c:v>514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20A008-C757-48F8-8471-0B6A0122F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F8DD42-605E-4496-A057-99F64FCB3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FE420F-10D6-4FBF-857A-0E9C7BD31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08A273-7E0E-4FC8-9C66-1E9A24954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5243E1-15F1-4EED-A32C-EE1771C7A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ED7B57-91D6-4BFF-8054-B12165F84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DD64B9-46A4-439F-84F0-8D2ACEF5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30B670-0A6D-490B-9E2C-9C967460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661447248403771</c:v>
                </c:pt>
                <c:pt idx="1">
                  <c:v>16.801284338209062</c:v>
                </c:pt>
                <c:pt idx="2">
                  <c:v>12.72314724126673</c:v>
                </c:pt>
                <c:pt idx="3">
                  <c:v>11.860544217687069</c:v>
                </c:pt>
                <c:pt idx="4">
                  <c:v>16.86475942782835</c:v>
                </c:pt>
                <c:pt idx="5">
                  <c:v>8.5484034465281304</c:v>
                </c:pt>
                <c:pt idx="6">
                  <c:v>12.984090909090909</c:v>
                </c:pt>
              </c:numCache>
            </c:numRef>
          </c:xVal>
          <c:yVal>
            <c:numRef>
              <c:f>Sheet1!$B$2:$B$8</c:f>
              <c:numCache>
                <c:formatCode>General</c:formatCode>
                <c:ptCount val="7"/>
                <c:pt idx="0">
                  <c:v>1.251309365725773</c:v>
                </c:pt>
                <c:pt idx="1">
                  <c:v>1.4015718126452721</c:v>
                </c:pt>
                <c:pt idx="2">
                  <c:v>0.72774097065595289</c:v>
                </c:pt>
                <c:pt idx="3">
                  <c:v>0.72939462409201961</c:v>
                </c:pt>
                <c:pt idx="4">
                  <c:v>1.1544410055521941</c:v>
                </c:pt>
                <c:pt idx="5">
                  <c:v>0.53276339590631328</c:v>
                </c:pt>
                <c:pt idx="6">
                  <c:v>0.75079632933360507</c:v>
                </c:pt>
              </c:numCache>
            </c:numRef>
          </c:yVal>
          <c:bubbleSize>
            <c:numRef>
              <c:f>Sheet1!$C$2:$C$8</c:f>
              <c:numCache>
                <c:formatCode>General</c:formatCode>
                <c:ptCount val="7"/>
                <c:pt idx="0">
                  <c:v>122755</c:v>
                </c:pt>
                <c:pt idx="1">
                  <c:v>47094</c:v>
                </c:pt>
                <c:pt idx="2">
                  <c:v>38971</c:v>
                </c:pt>
                <c:pt idx="3">
                  <c:v>27896</c:v>
                </c:pt>
                <c:pt idx="4">
                  <c:v>25938</c:v>
                </c:pt>
                <c:pt idx="5">
                  <c:v>16866</c:v>
                </c:pt>
                <c:pt idx="6">
                  <c:v>571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F87DC9-F6EC-4B23-A238-2B9046ACD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284A0E-80ED-490C-9C81-74006F796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0E0F57-5EB0-401D-940F-ADA506C5C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528FB5-3374-4AE1-877D-E37F05C2D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7F5181-2B84-4CCB-9DB0-31D2A9253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6B16A6-81F2-4ECC-A06B-B2342EC20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62FAB4-6363-46D9-959D-7D6C625DF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B0071D-76C5-421F-B3F8-5E67B2C3F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757301325640499</c:v>
                </c:pt>
                <c:pt idx="1">
                  <c:v>12.6511305786908</c:v>
                </c:pt>
                <c:pt idx="2">
                  <c:v>17.73342022540826</c:v>
                </c:pt>
                <c:pt idx="3">
                  <c:v>12.03970599378647</c:v>
                </c:pt>
                <c:pt idx="4">
                  <c:v>12.01324727376832</c:v>
                </c:pt>
                <c:pt idx="5">
                  <c:v>7.933580514112367</c:v>
                </c:pt>
                <c:pt idx="6">
                  <c:v>13.5013698630137</c:v>
                </c:pt>
                <c:pt idx="7">
                  <c:v>14.32145080946451</c:v>
                </c:pt>
                <c:pt idx="8">
                  <c:v>5.7416334955034642</c:v>
                </c:pt>
              </c:numCache>
            </c:numRef>
          </c:xVal>
          <c:yVal>
            <c:numRef>
              <c:f>Sheet1!$B$2:$B$10</c:f>
              <c:numCache>
                <c:formatCode>General</c:formatCode>
                <c:ptCount val="9"/>
                <c:pt idx="0">
                  <c:v>1.102406911295956</c:v>
                </c:pt>
                <c:pt idx="1">
                  <c:v>1.1647208906958171</c:v>
                </c:pt>
                <c:pt idx="2">
                  <c:v>1.543225871506603</c:v>
                </c:pt>
                <c:pt idx="3">
                  <c:v>1.099764347381142</c:v>
                </c:pt>
                <c:pt idx="4">
                  <c:v>0.99906250354124582</c:v>
                </c:pt>
                <c:pt idx="5">
                  <c:v>0.56859405007604624</c:v>
                </c:pt>
                <c:pt idx="6">
                  <c:v>0.6885935100656484</c:v>
                </c:pt>
                <c:pt idx="7">
                  <c:v>0.34096038816280022</c:v>
                </c:pt>
                <c:pt idx="8">
                  <c:v>0.55147905832733712</c:v>
                </c:pt>
              </c:numCache>
            </c:numRef>
          </c:yVal>
          <c:bubbleSize>
            <c:numRef>
              <c:f>Sheet1!$C$2:$C$10</c:f>
              <c:numCache>
                <c:formatCode>General</c:formatCode>
                <c:ptCount val="9"/>
                <c:pt idx="0">
                  <c:v>3714671</c:v>
                </c:pt>
                <c:pt idx="1">
                  <c:v>703289</c:v>
                </c:pt>
                <c:pt idx="2">
                  <c:v>693891</c:v>
                </c:pt>
                <c:pt idx="3">
                  <c:v>476664</c:v>
                </c:pt>
                <c:pt idx="4">
                  <c:v>461585</c:v>
                </c:pt>
                <c:pt idx="5">
                  <c:v>447208</c:v>
                </c:pt>
                <c:pt idx="6">
                  <c:v>128128</c:v>
                </c:pt>
                <c:pt idx="7">
                  <c:v>92001</c:v>
                </c:pt>
                <c:pt idx="8">
                  <c:v>7789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Flamingo</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8AE233-7F90-453F-B7A5-923FCAF94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E9FB43-B91D-4D67-917C-9266F5DAA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8C2C75-6B67-4AE3-B88C-12CE9072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B29781-3904-4595-9FB0-CA2CAE053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A68770-E735-43FB-B665-97CB84C92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6BF661-6AFE-4F32-9D24-1AE1D89F1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A22C19-FD25-4B84-94F4-722EA2CF3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96B480-F8A0-469B-8E08-2AA651D1D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734034941955741</c:v>
                </c:pt>
                <c:pt idx="1">
                  <c:v>6.5395529920692139</c:v>
                </c:pt>
                <c:pt idx="2">
                  <c:v>4.9807314897413022</c:v>
                </c:pt>
              </c:numCache>
            </c:numRef>
          </c:xVal>
          <c:yVal>
            <c:numRef>
              <c:f>Sheet1!$B$2:$B$4</c:f>
              <c:numCache>
                <c:formatCode>General</c:formatCode>
                <c:ptCount val="3"/>
                <c:pt idx="0">
                  <c:v>0.86904179966202177</c:v>
                </c:pt>
                <c:pt idx="1">
                  <c:v>1.284317489128928</c:v>
                </c:pt>
                <c:pt idx="2">
                  <c:v>1.303109258956586</c:v>
                </c:pt>
              </c:numCache>
            </c:numRef>
          </c:yVal>
          <c:bubbleSize>
            <c:numRef>
              <c:f>Sheet1!$C$2:$C$4</c:f>
              <c:numCache>
                <c:formatCode>General</c:formatCode>
                <c:ptCount val="3"/>
                <c:pt idx="0">
                  <c:v>371477</c:v>
                </c:pt>
                <c:pt idx="1">
                  <c:v>226759</c:v>
                </c:pt>
                <c:pt idx="2">
                  <c:v>2791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9DF0C4-684C-4628-878A-73B39C834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0BC41F-5226-4DAA-A1A0-724A2E699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65812C-C659-4E47-9CF7-3E6B0EA12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9256CF-B848-40BA-9CB0-5E156C79D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572FE6-347B-4608-B52E-F01715474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CFA82C-EA00-4437-99C5-348BA678B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E5CB74-615B-47E4-8C70-1D5C744B2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9B84CF-A982-4507-8689-7EFC0906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5886862467963</c:v>
                </c:pt>
                <c:pt idx="1">
                  <c:v>10.039019557410001</c:v>
                </c:pt>
                <c:pt idx="2">
                  <c:v>9.9100402911670091</c:v>
                </c:pt>
                <c:pt idx="3">
                  <c:v>11.475882021751611</c:v>
                </c:pt>
                <c:pt idx="4">
                  <c:v>10.4264266730373</c:v>
                </c:pt>
                <c:pt idx="5">
                  <c:v>5.7172022684310022</c:v>
                </c:pt>
                <c:pt idx="6">
                  <c:v>10.50586202640997</c:v>
                </c:pt>
              </c:numCache>
            </c:numRef>
          </c:xVal>
          <c:yVal>
            <c:numRef>
              <c:f>Sheet1!$B$2:$B$8</c:f>
              <c:numCache>
                <c:formatCode>General</c:formatCode>
                <c:ptCount val="7"/>
                <c:pt idx="0">
                  <c:v>1.155803287637631</c:v>
                </c:pt>
                <c:pt idx="1">
                  <c:v>0.7660400961260676</c:v>
                </c:pt>
                <c:pt idx="2">
                  <c:v>0.99588607156055042</c:v>
                </c:pt>
                <c:pt idx="3">
                  <c:v>1.2309361214481931</c:v>
                </c:pt>
                <c:pt idx="4">
                  <c:v>0.80398096889957826</c:v>
                </c:pt>
                <c:pt idx="5">
                  <c:v>0.57458103423581941</c:v>
                </c:pt>
                <c:pt idx="6">
                  <c:v>0.92992590356435234</c:v>
                </c:pt>
              </c:numCache>
            </c:numRef>
          </c:yVal>
          <c:bubbleSize>
            <c:numRef>
              <c:f>Sheet1!$C$2:$C$8</c:f>
              <c:numCache>
                <c:formatCode>General</c:formatCode>
                <c:ptCount val="7"/>
                <c:pt idx="0">
                  <c:v>7016768</c:v>
                </c:pt>
                <c:pt idx="1">
                  <c:v>2107652</c:v>
                </c:pt>
                <c:pt idx="2">
                  <c:v>2073448</c:v>
                </c:pt>
                <c:pt idx="3">
                  <c:v>2058647</c:v>
                </c:pt>
                <c:pt idx="4">
                  <c:v>1396599</c:v>
                </c:pt>
                <c:pt idx="5">
                  <c:v>423416</c:v>
                </c:pt>
                <c:pt idx="6">
                  <c:v>34051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F1CB2A-B1B6-42CD-B4D1-081385CEE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BC429C-4F7B-4E39-950B-D735180E1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015457-7654-4C3B-A4AB-EB7D2F696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5E5822-8DB7-4A99-B40E-A79E53F16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106B44-DD15-4600-899A-126EA0A1D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A24150-19D4-441A-A539-858AAFECB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32E0B7-1D69-4201-86E5-C43A3405F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BD567F-CFCE-4EA3-84C6-142C161F3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44986272323101</c:v>
                </c:pt>
                <c:pt idx="1">
                  <c:v>15.9204212134645</c:v>
                </c:pt>
                <c:pt idx="2">
                  <c:v>11.52691339719453</c:v>
                </c:pt>
                <c:pt idx="3">
                  <c:v>10.688796782383649</c:v>
                </c:pt>
                <c:pt idx="4">
                  <c:v>15.45742452529484</c:v>
                </c:pt>
                <c:pt idx="5">
                  <c:v>7.8263052636058044</c:v>
                </c:pt>
                <c:pt idx="6">
                  <c:v>11.43184236932527</c:v>
                </c:pt>
              </c:numCache>
            </c:numRef>
          </c:xVal>
          <c:yVal>
            <c:numRef>
              <c:f>Sheet1!$B$2:$B$8</c:f>
              <c:numCache>
                <c:formatCode>General</c:formatCode>
                <c:ptCount val="7"/>
                <c:pt idx="0">
                  <c:v>1.3218038960385201</c:v>
                </c:pt>
                <c:pt idx="1">
                  <c:v>1.412319979548798</c:v>
                </c:pt>
                <c:pt idx="2">
                  <c:v>0.76668258455070648</c:v>
                </c:pt>
                <c:pt idx="3">
                  <c:v>0.71661587209054345</c:v>
                </c:pt>
                <c:pt idx="4">
                  <c:v>1.1182518045061081</c:v>
                </c:pt>
                <c:pt idx="5">
                  <c:v>0.52347961631842888</c:v>
                </c:pt>
                <c:pt idx="6">
                  <c:v>0.75607405119714921</c:v>
                </c:pt>
              </c:numCache>
            </c:numRef>
          </c:yVal>
          <c:bubbleSize>
            <c:numRef>
              <c:f>Sheet1!$C$2:$C$8</c:f>
              <c:numCache>
                <c:formatCode>General</c:formatCode>
                <c:ptCount val="7"/>
                <c:pt idx="0">
                  <c:v>7216587</c:v>
                </c:pt>
                <c:pt idx="1">
                  <c:v>3375989</c:v>
                </c:pt>
                <c:pt idx="2">
                  <c:v>2954175</c:v>
                </c:pt>
                <c:pt idx="3">
                  <c:v>2176549</c:v>
                </c:pt>
                <c:pt idx="4">
                  <c:v>1357842</c:v>
                </c:pt>
                <c:pt idx="5">
                  <c:v>1103556</c:v>
                </c:pt>
                <c:pt idx="6">
                  <c:v>37595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B00969-608C-4EF1-87F8-92CAFA90D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6A5C26-CA93-4C89-91A3-1E5BE6DB1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BA20ED-8D22-4548-9C86-62BA7AD2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9C707B-9CE8-4AB2-987F-97F3262F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BBC463-331D-41C7-9EA7-A62F89C47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59DA05-CBF8-43FC-9858-C6EC36426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F679AA-2B80-432A-B344-0B459B43E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D15A56-F08E-4231-AECF-B61D05641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7140354057156664</c:v>
                </c:pt>
                <c:pt idx="1">
                  <c:v>6.5023231957518703</c:v>
                </c:pt>
                <c:pt idx="2">
                  <c:v>4.8117363939281743</c:v>
                </c:pt>
              </c:numCache>
            </c:numRef>
          </c:xVal>
          <c:yVal>
            <c:numRef>
              <c:f>Sheet1!$B$2:$B$4</c:f>
              <c:numCache>
                <c:formatCode>General</c:formatCode>
                <c:ptCount val="3"/>
                <c:pt idx="0">
                  <c:v>0.88412569099109783</c:v>
                </c:pt>
                <c:pt idx="1">
                  <c:v>1.3088954447422709</c:v>
                </c:pt>
                <c:pt idx="2">
                  <c:v>1.290214602080751</c:v>
                </c:pt>
              </c:numCache>
            </c:numRef>
          </c:yVal>
          <c:bubbleSize>
            <c:numRef>
              <c:f>Sheet1!$C$2:$C$4</c:f>
              <c:numCache>
                <c:formatCode>General</c:formatCode>
                <c:ptCount val="3"/>
                <c:pt idx="0">
                  <c:v>432678</c:v>
                </c:pt>
                <c:pt idx="1">
                  <c:v>215513</c:v>
                </c:pt>
                <c:pt idx="2">
                  <c:v>25993</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4F53B2-02C2-4158-A251-5E38CACCF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2468A7-AB40-4EA0-9008-9AA6D7C06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825C42-D0C9-40BC-9316-4656649BD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299BE0-3448-494A-ACAA-AF28BA4D1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FE0408-3CFF-453F-B0A8-088F17EBF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25D028-F654-4B19-84E3-08AB03A8B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B355D6-EFE6-4C57-8A7E-DEA3447A0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70E306-6095-4313-BBF7-6D17832EE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30110227477944</c:v>
                </c:pt>
                <c:pt idx="1">
                  <c:v>9.9260042039572536</c:v>
                </c:pt>
                <c:pt idx="2">
                  <c:v>9.9522143431810957</c:v>
                </c:pt>
                <c:pt idx="3">
                  <c:v>11.30021625263524</c:v>
                </c:pt>
                <c:pt idx="4">
                  <c:v>10.367114812058061</c:v>
                </c:pt>
                <c:pt idx="5">
                  <c:v>5.7189897346844569</c:v>
                </c:pt>
                <c:pt idx="6">
                  <c:v>10.57123919073258</c:v>
                </c:pt>
              </c:numCache>
            </c:numRef>
          </c:xVal>
          <c:yVal>
            <c:numRef>
              <c:f>Sheet1!$B$2:$B$8</c:f>
              <c:numCache>
                <c:formatCode>General</c:formatCode>
                <c:ptCount val="7"/>
                <c:pt idx="0">
                  <c:v>1.1607765728863639</c:v>
                </c:pt>
                <c:pt idx="1">
                  <c:v>1.008527425917378</c:v>
                </c:pt>
                <c:pt idx="2">
                  <c:v>0.78280103136616508</c:v>
                </c:pt>
                <c:pt idx="3">
                  <c:v>1.2100345412668201</c:v>
                </c:pt>
                <c:pt idx="4">
                  <c:v>0.81636249806848959</c:v>
                </c:pt>
                <c:pt idx="5">
                  <c:v>0.58108613933882847</c:v>
                </c:pt>
                <c:pt idx="6">
                  <c:v>0.93698556511294373</c:v>
                </c:pt>
              </c:numCache>
            </c:numRef>
          </c:yVal>
          <c:bubbleSize>
            <c:numRef>
              <c:f>Sheet1!$C$2:$C$8</c:f>
              <c:numCache>
                <c:formatCode>General</c:formatCode>
                <c:ptCount val="7"/>
                <c:pt idx="0">
                  <c:v>7356502</c:v>
                </c:pt>
                <c:pt idx="1">
                  <c:v>2583054</c:v>
                </c:pt>
                <c:pt idx="2">
                  <c:v>2127664</c:v>
                </c:pt>
                <c:pt idx="3">
                  <c:v>2079737</c:v>
                </c:pt>
                <c:pt idx="4">
                  <c:v>1782812</c:v>
                </c:pt>
                <c:pt idx="5">
                  <c:v>520348</c:v>
                </c:pt>
                <c:pt idx="6">
                  <c:v>51832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7DB642-83BF-4E1D-85D0-91708D4E5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D2C1E7-112E-4E44-997C-2FFF1FE12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2DB087-BD39-450D-BE72-4C25379D6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31DB5B-F90E-444E-848B-8AEF4C2CA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1B4FB1-64AD-4079-9D08-D552FA48D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2FF7AD-FDE1-405B-A9CA-E3C602341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9E4E95-CBA3-48F4-BE6D-EF0792E4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85374D-0067-41A0-B62E-2DFB1BF26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5404116030423</c:v>
                </c:pt>
                <c:pt idx="1">
                  <c:v>11.49482032081972</c:v>
                </c:pt>
                <c:pt idx="2">
                  <c:v>16.056524665563561</c:v>
                </c:pt>
                <c:pt idx="3">
                  <c:v>10.64829424754025</c:v>
                </c:pt>
                <c:pt idx="4">
                  <c:v>15.481312742066089</c:v>
                </c:pt>
                <c:pt idx="5">
                  <c:v>7.8269337236136014</c:v>
                </c:pt>
                <c:pt idx="6">
                  <c:v>11.24546958792688</c:v>
                </c:pt>
              </c:numCache>
            </c:numRef>
          </c:xVal>
          <c:yVal>
            <c:numRef>
              <c:f>Sheet1!$B$2:$B$8</c:f>
              <c:numCache>
                <c:formatCode>General</c:formatCode>
                <c:ptCount val="7"/>
                <c:pt idx="0">
                  <c:v>1.372803735166646</c:v>
                </c:pt>
                <c:pt idx="1">
                  <c:v>0.79322917750938671</c:v>
                </c:pt>
                <c:pt idx="2">
                  <c:v>1.449313715264877</c:v>
                </c:pt>
                <c:pt idx="3">
                  <c:v>0.74087672904227286</c:v>
                </c:pt>
                <c:pt idx="4">
                  <c:v>1.1479334947354149</c:v>
                </c:pt>
                <c:pt idx="5">
                  <c:v>0.54120310777464442</c:v>
                </c:pt>
                <c:pt idx="6">
                  <c:v>0.78031502116330476</c:v>
                </c:pt>
              </c:numCache>
            </c:numRef>
          </c:yVal>
          <c:bubbleSize>
            <c:numRef>
              <c:f>Sheet1!$C$2:$C$8</c:f>
              <c:numCache>
                <c:formatCode>General</c:formatCode>
                <c:ptCount val="7"/>
                <c:pt idx="0">
                  <c:v>7909331</c:v>
                </c:pt>
                <c:pt idx="1">
                  <c:v>3767117</c:v>
                </c:pt>
                <c:pt idx="2">
                  <c:v>3435165</c:v>
                </c:pt>
                <c:pt idx="3">
                  <c:v>3047627</c:v>
                </c:pt>
                <c:pt idx="4">
                  <c:v>1586881</c:v>
                </c:pt>
                <c:pt idx="5">
                  <c:v>1427891</c:v>
                </c:pt>
                <c:pt idx="6">
                  <c:v>56408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E676E7-A653-415A-8B59-9892C6B5B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8007863-3074-4390-8515-CE34529B6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3DCBD72-6EDB-4593-A148-A760EC0FE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4FBEA7-651C-4E15-8B13-99C5946B2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C2DBA1-6178-4BD4-BFF4-8F4EE27E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EB3961-11FE-4FE5-8F08-CC4AD8298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4383D4-0184-48BD-9D57-4EB0BCDD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EB871F-FA8B-49A5-B2C1-F956CFE4B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484143763213531</c:v>
                </c:pt>
              </c:numCache>
            </c:numRef>
          </c:xVal>
          <c:yVal>
            <c:numRef>
              <c:f>Sheet1!$B$2:$B$2</c:f>
              <c:numCache>
                <c:formatCode>General</c:formatCode>
                <c:ptCount val="1"/>
                <c:pt idx="0">
                  <c:v>1</c:v>
                </c:pt>
              </c:numCache>
            </c:numRef>
          </c:yVal>
          <c:bubbleSize>
            <c:numRef>
              <c:f>Sheet1!$C$2:$C$2</c:f>
              <c:numCache>
                <c:formatCode>General</c:formatCode>
                <c:ptCount val="1"/>
                <c:pt idx="0">
                  <c:v>212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4AD142-AC9A-4663-AF8E-4E85861F2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5BDAFA-CF63-4479-B690-BA3CD7D32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FBE4F1-A322-4E32-AB64-C567680D1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E9D89F-6AD9-447B-85B9-7CA6D8DEA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0E4A90-116E-49A1-8DB5-BC26D902E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300E047-74B5-45AA-970D-1073BB714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59F20B-558A-4406-AEE4-EB6F53946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8732DD-06FF-4E1E-BF3A-103E53A2E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66121560529106</c:v>
                </c:pt>
                <c:pt idx="1">
                  <c:v>11.54524207011686</c:v>
                </c:pt>
                <c:pt idx="2">
                  <c:v>12.53116147308782</c:v>
                </c:pt>
                <c:pt idx="3">
                  <c:v>7.0096754057428212</c:v>
                </c:pt>
                <c:pt idx="4">
                  <c:v>8.6133333333333333</c:v>
                </c:pt>
              </c:numCache>
            </c:numRef>
          </c:xVal>
          <c:yVal>
            <c:numRef>
              <c:f>Sheet1!$B$2:$B$6</c:f>
              <c:numCache>
                <c:formatCode>General</c:formatCode>
                <c:ptCount val="5"/>
                <c:pt idx="0">
                  <c:v>1.02564767629441</c:v>
                </c:pt>
                <c:pt idx="1">
                  <c:v>1.3082480923412461</c:v>
                </c:pt>
                <c:pt idx="2">
                  <c:v>0.93718893037233997</c:v>
                </c:pt>
                <c:pt idx="3">
                  <c:v>0.67101333261543994</c:v>
                </c:pt>
                <c:pt idx="4">
                  <c:v>0.81674195246800518</c:v>
                </c:pt>
              </c:numCache>
            </c:numRef>
          </c:yVal>
          <c:bubbleSize>
            <c:numRef>
              <c:f>Sheet1!$C$2:$C$6</c:f>
              <c:numCache>
                <c:formatCode>General</c:formatCode>
                <c:ptCount val="5"/>
                <c:pt idx="0">
                  <c:v>226851</c:v>
                </c:pt>
                <c:pt idx="1">
                  <c:v>34578</c:v>
                </c:pt>
                <c:pt idx="2">
                  <c:v>26541</c:v>
                </c:pt>
                <c:pt idx="3">
                  <c:v>22459</c:v>
                </c:pt>
                <c:pt idx="4">
                  <c:v>4522</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Pbg Pl</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67E617-6FBF-4B76-A6FE-F1BDDC235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8D07DD-7C0E-4BFA-8C6F-39267C30B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390F2A-7BA0-4618-8296-B864AE6A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631B6-B5FF-4B39-85EB-4A086302D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D91412-C2BB-408D-BEDA-F18D27A07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1EBCD20-AE37-4FA6-A877-DB54C65AE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90C911-B7DB-468B-9319-6886F9714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C4D944-F296-42A8-97F0-1C324D35F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060467555821969</c:v>
                </c:pt>
                <c:pt idx="1">
                  <c:v>10.882352941176469</c:v>
                </c:pt>
                <c:pt idx="2">
                  <c:v>15.21669708029197</c:v>
                </c:pt>
                <c:pt idx="3">
                  <c:v>18.554831704668839</c:v>
                </c:pt>
              </c:numCache>
            </c:numRef>
          </c:xVal>
          <c:yVal>
            <c:numRef>
              <c:f>Sheet1!$B$2:$B$5</c:f>
              <c:numCache>
                <c:formatCode>General</c:formatCode>
                <c:ptCount val="4"/>
                <c:pt idx="0">
                  <c:v>1.189219038415877</c:v>
                </c:pt>
                <c:pt idx="1">
                  <c:v>0.47883230330991527</c:v>
                </c:pt>
                <c:pt idx="2">
                  <c:v>1.000499204168398</c:v>
                </c:pt>
                <c:pt idx="3">
                  <c:v>1.6182497738566419</c:v>
                </c:pt>
              </c:numCache>
            </c:numRef>
          </c:yVal>
          <c:bubbleSize>
            <c:numRef>
              <c:f>Sheet1!$C$2:$C$5</c:f>
              <c:numCache>
                <c:formatCode>General</c:formatCode>
                <c:ptCount val="4"/>
                <c:pt idx="0">
                  <c:v>241035</c:v>
                </c:pt>
                <c:pt idx="1">
                  <c:v>39220</c:v>
                </c:pt>
                <c:pt idx="2">
                  <c:v>33355</c:v>
                </c:pt>
                <c:pt idx="3">
                  <c:v>17089</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873DE3-0714-4F1D-9A85-25149E470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A6EAEF-C6B2-400D-9EAA-E3BE0D21B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B7A960-1A7D-4EF2-BF4D-6CC211EB3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5F7197-D931-477E-81AA-00438D2C9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7D8A861-8A7C-4F14-96B5-88A8D6CBF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BF71B2-1C1F-4A72-A552-FF992704D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B02D6E-D635-44CE-B09F-E38F09438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7F0971-0C87-4537-ADD4-574FAAD2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323438438772552</c:v>
                </c:pt>
                <c:pt idx="1">
                  <c:v>6.5236438258386871</c:v>
                </c:pt>
                <c:pt idx="2">
                  <c:v>4.9076177748078846</c:v>
                </c:pt>
              </c:numCache>
            </c:numRef>
          </c:xVal>
          <c:yVal>
            <c:numRef>
              <c:f>Sheet1!$B$2:$B$4</c:f>
              <c:numCache>
                <c:formatCode>General</c:formatCode>
                <c:ptCount val="3"/>
                <c:pt idx="0">
                  <c:v>0.87416219193344102</c:v>
                </c:pt>
                <c:pt idx="1">
                  <c:v>1.3006975819357609</c:v>
                </c:pt>
                <c:pt idx="2">
                  <c:v>1.3039052960819399</c:v>
                </c:pt>
              </c:numCache>
            </c:numRef>
          </c:yVal>
          <c:bubbleSize>
            <c:numRef>
              <c:f>Sheet1!$C$2:$C$4</c:f>
              <c:numCache>
                <c:formatCode>General</c:formatCode>
                <c:ptCount val="3"/>
                <c:pt idx="0">
                  <c:v>383435</c:v>
                </c:pt>
                <c:pt idx="1">
                  <c:v>219351</c:v>
                </c:pt>
                <c:pt idx="2">
                  <c:v>2937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C243F6-6B6A-4DF5-A995-480D77A0C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B2E7B-A33C-4291-A291-B1DE44BF1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20AFF9-B7CB-4E52-B4B3-A3F69720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A9CCBE-6DBA-42EE-B10D-8DC4DD4D7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F7B3C5-F43C-4EE4-9042-51227FD70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6940F-6F11-4DE3-B9EB-E2A7732E1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93045B-1346-4B81-B3B2-6949AE4B1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9C4D29-49A7-4111-A7FE-E4493EE9E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04127658248416</c:v>
                </c:pt>
                <c:pt idx="1">
                  <c:v>19.58648552654946</c:v>
                </c:pt>
                <c:pt idx="2">
                  <c:v>13.47014330172598</c:v>
                </c:pt>
                <c:pt idx="3">
                  <c:v>12.60621724156649</c:v>
                </c:pt>
                <c:pt idx="4">
                  <c:v>12.430102251600911</c:v>
                </c:pt>
                <c:pt idx="5">
                  <c:v>8.4310590446168767</c:v>
                </c:pt>
                <c:pt idx="6">
                  <c:v>14.96215403435445</c:v>
                </c:pt>
                <c:pt idx="7">
                  <c:v>14.132461569175479</c:v>
                </c:pt>
              </c:numCache>
            </c:numRef>
          </c:xVal>
          <c:yVal>
            <c:numRef>
              <c:f>Sheet1!$B$2:$B$9</c:f>
              <c:numCache>
                <c:formatCode>General</c:formatCode>
                <c:ptCount val="8"/>
                <c:pt idx="0">
                  <c:v>1.139358194723056</c:v>
                </c:pt>
                <c:pt idx="1">
                  <c:v>1.398406914185349</c:v>
                </c:pt>
                <c:pt idx="2">
                  <c:v>1.133883975962956</c:v>
                </c:pt>
                <c:pt idx="3">
                  <c:v>0.91802283562539622</c:v>
                </c:pt>
                <c:pt idx="4">
                  <c:v>0.99180919203809115</c:v>
                </c:pt>
                <c:pt idx="5">
                  <c:v>0.54115374596593091</c:v>
                </c:pt>
                <c:pt idx="6">
                  <c:v>0.31718875206362429</c:v>
                </c:pt>
                <c:pt idx="7">
                  <c:v>0.64825438193129559</c:v>
                </c:pt>
              </c:numCache>
            </c:numRef>
          </c:yVal>
          <c:bubbleSize>
            <c:numRef>
              <c:f>Sheet1!$C$2:$C$9</c:f>
              <c:numCache>
                <c:formatCode>General</c:formatCode>
                <c:ptCount val="8"/>
                <c:pt idx="0">
                  <c:v>16893685</c:v>
                </c:pt>
                <c:pt idx="1">
                  <c:v>3308745</c:v>
                </c:pt>
                <c:pt idx="2">
                  <c:v>2584018</c:v>
                </c:pt>
                <c:pt idx="3">
                  <c:v>2090073</c:v>
                </c:pt>
                <c:pt idx="4">
                  <c:v>1925572</c:v>
                </c:pt>
                <c:pt idx="5">
                  <c:v>1112630</c:v>
                </c:pt>
                <c:pt idx="6">
                  <c:v>587085</c:v>
                </c:pt>
                <c:pt idx="7">
                  <c:v>56631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9A2D9A-281F-44B1-ACE3-CDAB2780E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D9782E-A9D7-439B-B32C-9C657ECC9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DED2FC-6F22-46F7-9551-C458801A4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AA9678-F35C-45CA-852D-27123B45F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F51CF2-49BF-4D25-A6B3-D5CA7012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1927FA-0ECC-42E7-A4A6-EDD5ADB76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18F2AA-034B-4CF2-B385-E34AF1034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95DBFC-5A0B-489C-B15D-1F0078C7D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174310435052099</c:v>
                </c:pt>
                <c:pt idx="1">
                  <c:v>9.9187133126030087</c:v>
                </c:pt>
                <c:pt idx="2">
                  <c:v>9.9880602929859403</c:v>
                </c:pt>
                <c:pt idx="3">
                  <c:v>11.400366827536949</c:v>
                </c:pt>
                <c:pt idx="4">
                  <c:v>10.29127626283843</c:v>
                </c:pt>
                <c:pt idx="5">
                  <c:v>5.7178025452885439</c:v>
                </c:pt>
                <c:pt idx="6">
                  <c:v>10.47971915577549</c:v>
                </c:pt>
              </c:numCache>
            </c:numRef>
          </c:xVal>
          <c:yVal>
            <c:numRef>
              <c:f>Sheet1!$B$2:$B$8</c:f>
              <c:numCache>
                <c:formatCode>General</c:formatCode>
                <c:ptCount val="7"/>
                <c:pt idx="0">
                  <c:v>1.155615231613587</c:v>
                </c:pt>
                <c:pt idx="1">
                  <c:v>1.007988389074838</c:v>
                </c:pt>
                <c:pt idx="2">
                  <c:v>0.77701076647881517</c:v>
                </c:pt>
                <c:pt idx="3">
                  <c:v>1.241445504514193</c:v>
                </c:pt>
                <c:pt idx="4">
                  <c:v>0.81786442548304195</c:v>
                </c:pt>
                <c:pt idx="5">
                  <c:v>0.58108521121136814</c:v>
                </c:pt>
                <c:pt idx="6">
                  <c:v>0.94642097662815994</c:v>
                </c:pt>
              </c:numCache>
            </c:numRef>
          </c:yVal>
          <c:bubbleSize>
            <c:numRef>
              <c:f>Sheet1!$C$2:$C$8</c:f>
              <c:numCache>
                <c:formatCode>General</c:formatCode>
                <c:ptCount val="7"/>
                <c:pt idx="0">
                  <c:v>7188699</c:v>
                </c:pt>
                <c:pt idx="1">
                  <c:v>2443356</c:v>
                </c:pt>
                <c:pt idx="2">
                  <c:v>2167479</c:v>
                </c:pt>
                <c:pt idx="3">
                  <c:v>2107107</c:v>
                </c:pt>
                <c:pt idx="4">
                  <c:v>1690373</c:v>
                </c:pt>
                <c:pt idx="5">
                  <c:v>513533</c:v>
                </c:pt>
                <c:pt idx="6">
                  <c:v>49554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4C046D-C3F9-4078-A24F-F8A03DFD6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DD99B9-5062-4635-8011-63DED95BE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D34206-565B-4179-BF7A-E3B29A136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7C03A2-3D8C-4959-AFBF-4AAB5CF28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5E94FB-76EF-4D50-B417-FF5A5842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26EDB7-10EF-4A42-989A-56F2A6566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D71C6F-2717-4F00-A7B8-654E7B444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994B59C-11D6-4BFC-A2C8-EC35F600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773587486065811</c:v>
                </c:pt>
                <c:pt idx="1">
                  <c:v>11.315880436877819</c:v>
                </c:pt>
                <c:pt idx="2">
                  <c:v>15.62862718211065</c:v>
                </c:pt>
                <c:pt idx="3">
                  <c:v>10.39418925162914</c:v>
                </c:pt>
                <c:pt idx="4">
                  <c:v>15.38948768518094</c:v>
                </c:pt>
                <c:pt idx="5">
                  <c:v>7.7730321307741708</c:v>
                </c:pt>
                <c:pt idx="6">
                  <c:v>11.192147545225721</c:v>
                </c:pt>
              </c:numCache>
            </c:numRef>
          </c:xVal>
          <c:yVal>
            <c:numRef>
              <c:f>Sheet1!$B$2:$B$8</c:f>
              <c:numCache>
                <c:formatCode>General</c:formatCode>
                <c:ptCount val="7"/>
                <c:pt idx="0">
                  <c:v>1.359249747365666</c:v>
                </c:pt>
                <c:pt idx="1">
                  <c:v>0.79584663702811598</c:v>
                </c:pt>
                <c:pt idx="2">
                  <c:v>1.452451134078639</c:v>
                </c:pt>
                <c:pt idx="3">
                  <c:v>0.74093176446234177</c:v>
                </c:pt>
                <c:pt idx="4">
                  <c:v>1.157900996289146</c:v>
                </c:pt>
                <c:pt idx="5">
                  <c:v>0.54185218190589113</c:v>
                </c:pt>
                <c:pt idx="6">
                  <c:v>0.78211311892864344</c:v>
                </c:pt>
              </c:numCache>
            </c:numRef>
          </c:yVal>
          <c:bubbleSize>
            <c:numRef>
              <c:f>Sheet1!$C$2:$C$8</c:f>
              <c:numCache>
                <c:formatCode>General</c:formatCode>
                <c:ptCount val="7"/>
                <c:pt idx="0">
                  <c:v>6887905</c:v>
                </c:pt>
                <c:pt idx="1">
                  <c:v>3463576</c:v>
                </c:pt>
                <c:pt idx="2">
                  <c:v>2963344</c:v>
                </c:pt>
                <c:pt idx="3">
                  <c:v>2609482</c:v>
                </c:pt>
                <c:pt idx="4">
                  <c:v>1342148</c:v>
                </c:pt>
                <c:pt idx="5">
                  <c:v>1174031</c:v>
                </c:pt>
                <c:pt idx="6">
                  <c:v>47576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07486D-5B25-4E95-9328-58E5A5C9D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3F0AA2-E199-408F-9940-101E85FE2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042F3-5666-4154-BD09-E62D4B67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989E390-984B-493C-8300-4F8666A59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CE88B7-4194-4C79-8F81-A0DE5A1A4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39F443-C2B5-41CA-A8E6-DD5A6FF4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730ED8-8366-4FF8-B6F3-EA2F3B40F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B27388-76B7-48F7-B2DF-427F23DE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193580868470743</c:v>
                </c:pt>
                <c:pt idx="1">
                  <c:v>6.5029828218213179</c:v>
                </c:pt>
                <c:pt idx="2">
                  <c:v>4.9299539170506916</c:v>
                </c:pt>
              </c:numCache>
            </c:numRef>
          </c:xVal>
          <c:yVal>
            <c:numRef>
              <c:f>Sheet1!$B$2:$B$4</c:f>
              <c:numCache>
                <c:formatCode>General</c:formatCode>
                <c:ptCount val="3"/>
                <c:pt idx="0">
                  <c:v>0.87403118541610281</c:v>
                </c:pt>
                <c:pt idx="1">
                  <c:v>1.3007024998569909</c:v>
                </c:pt>
                <c:pt idx="2">
                  <c:v>1.313102782303263</c:v>
                </c:pt>
              </c:numCache>
            </c:numRef>
          </c:yVal>
          <c:bubbleSize>
            <c:numRef>
              <c:f>Sheet1!$C$2:$C$4</c:f>
              <c:numCache>
                <c:formatCode>General</c:formatCode>
                <c:ptCount val="3"/>
                <c:pt idx="0">
                  <c:v>334459</c:v>
                </c:pt>
                <c:pt idx="1">
                  <c:v>180952</c:v>
                </c:pt>
                <c:pt idx="2">
                  <c:v>26745</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C95F17-A09B-417A-905C-364607D73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C810FB-E2CB-4D74-8ADB-0F8BB7999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EE5E9B-286C-4B39-9025-FA8F79968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9E2254-6936-40D2-9243-F4FC1F101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9C154A-2D08-43B5-B856-D5AB83C61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2D100C-BC14-4DD5-8596-A9A59F0E2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FDF6B4-143D-4D25-881A-FAC2C6975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484BF1-BD18-4C23-87EC-4D99D307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10309660489408</c:v>
                </c:pt>
                <c:pt idx="1">
                  <c:v>9.9087464159196159</c:v>
                </c:pt>
                <c:pt idx="2">
                  <c:v>11.504683129304899</c:v>
                </c:pt>
                <c:pt idx="3">
                  <c:v>9.8320725993235278</c:v>
                </c:pt>
                <c:pt idx="4">
                  <c:v>10.33336938339967</c:v>
                </c:pt>
                <c:pt idx="5">
                  <c:v>10.50674679415576</c:v>
                </c:pt>
                <c:pt idx="6">
                  <c:v>5.717950551257668</c:v>
                </c:pt>
              </c:numCache>
            </c:numRef>
          </c:xVal>
          <c:yVal>
            <c:numRef>
              <c:f>Sheet1!$B$2:$B$8</c:f>
              <c:numCache>
                <c:formatCode>General</c:formatCode>
                <c:ptCount val="7"/>
                <c:pt idx="0">
                  <c:v>1.139567961586178</c:v>
                </c:pt>
                <c:pt idx="1">
                  <c:v>1.0024249271257719</c:v>
                </c:pt>
                <c:pt idx="2">
                  <c:v>1.2803690920636359</c:v>
                </c:pt>
                <c:pt idx="3">
                  <c:v>0.761421995452355</c:v>
                </c:pt>
                <c:pt idx="4">
                  <c:v>0.81060430920094184</c:v>
                </c:pt>
                <c:pt idx="5">
                  <c:v>0.9346566892208521</c:v>
                </c:pt>
                <c:pt idx="6">
                  <c:v>0.57847327334371501</c:v>
                </c:pt>
              </c:numCache>
            </c:numRef>
          </c:yVal>
          <c:bubbleSize>
            <c:numRef>
              <c:f>Sheet1!$C$2:$C$8</c:f>
              <c:numCache>
                <c:formatCode>General</c:formatCode>
                <c:ptCount val="7"/>
                <c:pt idx="0">
                  <c:v>6171139</c:v>
                </c:pt>
                <c:pt idx="1">
                  <c:v>1966361</c:v>
                </c:pt>
                <c:pt idx="2">
                  <c:v>1912481</c:v>
                </c:pt>
                <c:pt idx="3">
                  <c:v>1659821</c:v>
                </c:pt>
                <c:pt idx="4">
                  <c:v>1433197</c:v>
                </c:pt>
                <c:pt idx="5">
                  <c:v>470303</c:v>
                </c:pt>
                <c:pt idx="6">
                  <c:v>39986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95117E-D4F2-41E4-B812-C7EA9E056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B44C87-E6F3-47AD-96CE-15FC10D48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1598A4-1A0F-44EE-9BF7-026AC4CDC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FA76BF-DB5C-45E2-BCC1-FADB35E6C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B45730-5B87-4208-9780-8193543A4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11BD06-D22A-4C28-ABE4-9E4D80A5C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47432F-F851-41E1-B77A-FDFEDF88F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11801D-1CC5-4353-951C-7A296D6A7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81162635171043</c:v>
                </c:pt>
                <c:pt idx="1">
                  <c:v>11.31307759443389</c:v>
                </c:pt>
                <c:pt idx="2">
                  <c:v>10.456810200242771</c:v>
                </c:pt>
                <c:pt idx="3">
                  <c:v>15.68383775590744</c:v>
                </c:pt>
                <c:pt idx="4">
                  <c:v>15.37726016388852</c:v>
                </c:pt>
                <c:pt idx="5">
                  <c:v>7.7628437986507528</c:v>
                </c:pt>
                <c:pt idx="6">
                  <c:v>11.142455936471039</c:v>
                </c:pt>
              </c:numCache>
            </c:numRef>
          </c:xVal>
          <c:yVal>
            <c:numRef>
              <c:f>Sheet1!$B$2:$B$8</c:f>
              <c:numCache>
                <c:formatCode>General</c:formatCode>
                <c:ptCount val="7"/>
                <c:pt idx="0">
                  <c:v>1.3577686769026871</c:v>
                </c:pt>
                <c:pt idx="1">
                  <c:v>0.79325032179928689</c:v>
                </c:pt>
                <c:pt idx="2">
                  <c:v>0.73835800644420602</c:v>
                </c:pt>
                <c:pt idx="3">
                  <c:v>1.4408243067552191</c:v>
                </c:pt>
                <c:pt idx="4">
                  <c:v>1.151899604928752</c:v>
                </c:pt>
                <c:pt idx="5">
                  <c:v>0.54042852729897917</c:v>
                </c:pt>
                <c:pt idx="6">
                  <c:v>0.78436586494172567</c:v>
                </c:pt>
              </c:numCache>
            </c:numRef>
          </c:yVal>
          <c:bubbleSize>
            <c:numRef>
              <c:f>Sheet1!$C$2:$C$8</c:f>
              <c:numCache>
                <c:formatCode>General</c:formatCode>
                <c:ptCount val="7"/>
                <c:pt idx="0">
                  <c:v>5965933</c:v>
                </c:pt>
                <c:pt idx="1">
                  <c:v>2773944</c:v>
                </c:pt>
                <c:pt idx="2">
                  <c:v>2256977</c:v>
                </c:pt>
                <c:pt idx="3">
                  <c:v>2245408</c:v>
                </c:pt>
                <c:pt idx="4">
                  <c:v>1262919</c:v>
                </c:pt>
                <c:pt idx="5">
                  <c:v>912499</c:v>
                </c:pt>
                <c:pt idx="6">
                  <c:v>460228</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Joy</c:v>
                  </c:pt>
                  <c:pt idx="3">
                    <c:v>Intuition</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93FB0D-072A-442C-8454-670D4A366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B90677-AA24-4D91-B4BB-34944242B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1D2A19-F1E1-48A0-8B72-C51227C59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B88CC7-ED38-4CD1-A356-C470EE66A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F0F865-E6F0-4F35-8192-B9EB66C1B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F3EB91-C6FA-407C-86B8-566F397DE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A96C3A-55FD-4A73-9ED8-49B84ACC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32EE22-2401-427E-95EC-D4991416B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423393288001751</c:v>
                </c:pt>
                <c:pt idx="1">
                  <c:v>6.5831253713606657</c:v>
                </c:pt>
                <c:pt idx="2">
                  <c:v>4.8021509363990358</c:v>
                </c:pt>
              </c:numCache>
            </c:numRef>
          </c:xVal>
          <c:yVal>
            <c:numRef>
              <c:f>Sheet1!$B$2:$B$4</c:f>
              <c:numCache>
                <c:formatCode>General</c:formatCode>
                <c:ptCount val="3"/>
                <c:pt idx="0">
                  <c:v>0.87140444184245658</c:v>
                </c:pt>
                <c:pt idx="1">
                  <c:v>1.3150481123100739</c:v>
                </c:pt>
                <c:pt idx="2">
                  <c:v>1.277421403120953</c:v>
                </c:pt>
              </c:numCache>
            </c:numRef>
          </c:yVal>
          <c:bubbleSize>
            <c:numRef>
              <c:f>Sheet1!$C$2:$C$4</c:f>
              <c:numCache>
                <c:formatCode>General</c:formatCode>
                <c:ptCount val="3"/>
                <c:pt idx="0">
                  <c:v>307909</c:v>
                </c:pt>
                <c:pt idx="1">
                  <c:v>166191</c:v>
                </c:pt>
                <c:pt idx="2">
                  <c:v>25898</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921FD3-9BAB-420A-A185-148562511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8880E2-A860-4458-891D-1EB1A84BD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E183CC-8668-4109-861F-E393BF6E7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B760CC-BD42-4E69-A41A-10A3C0AE8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6AC148-8D18-4003-B393-84151AE37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9F4A72-720F-463E-9482-823F068F8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851B1F-AAF8-43D2-84D9-74A7272EC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3BB085-1CD0-4E76-B733-AE97884B0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1385273718799</c:v>
                </c:pt>
                <c:pt idx="1">
                  <c:v>11.6717360770864</c:v>
                </c:pt>
                <c:pt idx="2">
                  <c:v>9.9328793192182019</c:v>
                </c:pt>
                <c:pt idx="3">
                  <c:v>9.9241077533160134</c:v>
                </c:pt>
                <c:pt idx="4">
                  <c:v>10.40065169528842</c:v>
                </c:pt>
                <c:pt idx="5">
                  <c:v>10.6718774064377</c:v>
                </c:pt>
                <c:pt idx="6">
                  <c:v>5.809354030372849</c:v>
                </c:pt>
              </c:numCache>
            </c:numRef>
          </c:xVal>
          <c:yVal>
            <c:numRef>
              <c:f>Sheet1!$B$2:$B$8</c:f>
              <c:numCache>
                <c:formatCode>General</c:formatCode>
                <c:ptCount val="7"/>
                <c:pt idx="0">
                  <c:v>1.126768234097584</c:v>
                </c:pt>
                <c:pt idx="1">
                  <c:v>1.287979729786753</c:v>
                </c:pt>
                <c:pt idx="2">
                  <c:v>0.98272605727991413</c:v>
                </c:pt>
                <c:pt idx="3">
                  <c:v>0.75280341256124961</c:v>
                </c:pt>
                <c:pt idx="4">
                  <c:v>0.7896988293637881</c:v>
                </c:pt>
                <c:pt idx="5">
                  <c:v>0.91744439245463261</c:v>
                </c:pt>
                <c:pt idx="6">
                  <c:v>0.57480229186090237</c:v>
                </c:pt>
              </c:numCache>
            </c:numRef>
          </c:yVal>
          <c:bubbleSize>
            <c:numRef>
              <c:f>Sheet1!$C$2:$C$8</c:f>
              <c:numCache>
                <c:formatCode>General</c:formatCode>
                <c:ptCount val="7"/>
                <c:pt idx="0">
                  <c:v>6345011</c:v>
                </c:pt>
                <c:pt idx="1">
                  <c:v>1786651</c:v>
                </c:pt>
                <c:pt idx="2">
                  <c:v>1659804</c:v>
                </c:pt>
                <c:pt idx="3">
                  <c:v>1451500</c:v>
                </c:pt>
                <c:pt idx="4">
                  <c:v>1180994</c:v>
                </c:pt>
                <c:pt idx="5">
                  <c:v>415755</c:v>
                </c:pt>
                <c:pt idx="6">
                  <c:v>34543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EFCD4D-D065-4187-A6E4-1545DDCDC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8A5F4E-DDC7-4C2D-95F5-9CE4FC795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327527-3C62-4068-B816-C4A2EA223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817925-9999-4DE5-AE02-5A43658FA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5448A5-1AC7-4182-A64C-E6773B710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E7F747-9B0E-4630-8641-995FB92F3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A9A66-AC8D-4111-AA6B-58E5AE37B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114988-7C11-40FA-8147-56755FCB8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22467353989223</c:v>
                </c:pt>
                <c:pt idx="1">
                  <c:v>11.703142395573259</c:v>
                </c:pt>
                <c:pt idx="2">
                  <c:v>16.199330608793691</c:v>
                </c:pt>
                <c:pt idx="3">
                  <c:v>10.950765626785509</c:v>
                </c:pt>
                <c:pt idx="4">
                  <c:v>15.616559951711981</c:v>
                </c:pt>
                <c:pt idx="5">
                  <c:v>7.9095919458147499</c:v>
                </c:pt>
                <c:pt idx="6">
                  <c:v>11.581696655607489</c:v>
                </c:pt>
              </c:numCache>
            </c:numRef>
          </c:xVal>
          <c:yVal>
            <c:numRef>
              <c:f>Sheet1!$B$2:$B$8</c:f>
              <c:numCache>
                <c:formatCode>General</c:formatCode>
                <c:ptCount val="7"/>
                <c:pt idx="0">
                  <c:v>1.3326548104337459</c:v>
                </c:pt>
                <c:pt idx="1">
                  <c:v>0.76513211529847625</c:v>
                </c:pt>
                <c:pt idx="2">
                  <c:v>1.398205227357066</c:v>
                </c:pt>
                <c:pt idx="3">
                  <c:v>0.71649705240159922</c:v>
                </c:pt>
                <c:pt idx="4">
                  <c:v>1.116097501908808</c:v>
                </c:pt>
                <c:pt idx="5">
                  <c:v>0.52890631874975969</c:v>
                </c:pt>
                <c:pt idx="6">
                  <c:v>0.76602177280391348</c:v>
                </c:pt>
              </c:numCache>
            </c:numRef>
          </c:yVal>
          <c:bubbleSize>
            <c:numRef>
              <c:f>Sheet1!$C$2:$C$8</c:f>
              <c:numCache>
                <c:formatCode>General</c:formatCode>
                <c:ptCount val="7"/>
                <c:pt idx="0">
                  <c:v>6710179</c:v>
                </c:pt>
                <c:pt idx="1">
                  <c:v>2470311</c:v>
                </c:pt>
                <c:pt idx="2">
                  <c:v>2299009</c:v>
                </c:pt>
                <c:pt idx="3">
                  <c:v>1916603</c:v>
                </c:pt>
                <c:pt idx="4">
                  <c:v>1319490</c:v>
                </c:pt>
                <c:pt idx="5">
                  <c:v>902698</c:v>
                </c:pt>
                <c:pt idx="6">
                  <c:v>47824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6C9B36-7F1B-4365-9F91-8A70BF4BB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4B0313-2E5A-4B9A-BCCE-33344304E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4BC37E-C6D6-4330-9530-EC9B79018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E354D4-A954-4501-A750-9F2CD7A1A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A3B390-4F4C-4DA4-A4E2-0A3D343A6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39A157-2DCD-4292-A513-73941F2FB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1B3291-8564-489F-8A70-71F97FDD4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2E03E5-49B1-4CB2-B2AD-07CCFE090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7.4984882738283138</c:v>
                </c:pt>
                <c:pt idx="1">
                  <c:v>7.6979229237140778</c:v>
                </c:pt>
                <c:pt idx="2">
                  <c:v>4.0149803312385428</c:v>
                </c:pt>
                <c:pt idx="3">
                  <c:v>5.472080565241483</c:v>
                </c:pt>
                <c:pt idx="4">
                  <c:v>5.253935044061409</c:v>
                </c:pt>
                <c:pt idx="5">
                  <c:v>6.4152311174964352</c:v>
                </c:pt>
                <c:pt idx="6">
                  <c:v>7.8967598680298599</c:v>
                </c:pt>
                <c:pt idx="7">
                  <c:v>15.613579769805931</c:v>
                </c:pt>
                <c:pt idx="8">
                  <c:v>5.1413966592094873</c:v>
                </c:pt>
              </c:numCache>
            </c:numRef>
          </c:xVal>
          <c:yVal>
            <c:numRef>
              <c:f>Sheet1!$B$2:$B$10</c:f>
              <c:numCache>
                <c:formatCode>General</c:formatCode>
                <c:ptCount val="9"/>
                <c:pt idx="0">
                  <c:v>1.038988549058967</c:v>
                </c:pt>
                <c:pt idx="1">
                  <c:v>1.5320972040903931</c:v>
                </c:pt>
                <c:pt idx="2">
                  <c:v>0.65259670972266659</c:v>
                </c:pt>
                <c:pt idx="3">
                  <c:v>0.89109839574613625</c:v>
                </c:pt>
                <c:pt idx="4">
                  <c:v>0.86431327560474303</c:v>
                </c:pt>
                <c:pt idx="5">
                  <c:v>1.581361425339338</c:v>
                </c:pt>
                <c:pt idx="6">
                  <c:v>1.320855594660554</c:v>
                </c:pt>
                <c:pt idx="7">
                  <c:v>2.492180420409289</c:v>
                </c:pt>
                <c:pt idx="8">
                  <c:v>0.50694231916702426</c:v>
                </c:pt>
              </c:numCache>
            </c:numRef>
          </c:yVal>
          <c:bubbleSize>
            <c:numRef>
              <c:f>Sheet1!$C$2:$C$10</c:f>
              <c:numCache>
                <c:formatCode>General</c:formatCode>
                <c:ptCount val="9"/>
                <c:pt idx="0">
                  <c:v>22945959</c:v>
                </c:pt>
                <c:pt idx="1">
                  <c:v>9252734</c:v>
                </c:pt>
                <c:pt idx="2">
                  <c:v>7836543</c:v>
                </c:pt>
                <c:pt idx="3">
                  <c:v>6507929</c:v>
                </c:pt>
                <c:pt idx="4">
                  <c:v>6446179</c:v>
                </c:pt>
                <c:pt idx="5">
                  <c:v>6050429</c:v>
                </c:pt>
                <c:pt idx="6">
                  <c:v>4648175</c:v>
                </c:pt>
                <c:pt idx="7">
                  <c:v>4646211</c:v>
                </c:pt>
                <c:pt idx="8">
                  <c:v>2649809</c:v>
                </c:pt>
              </c:numCache>
            </c:numRef>
          </c:bubbleSize>
          <c:bubble3D val="0"/>
          <c:extLst>
            <c:ext xmlns:c15="http://schemas.microsoft.com/office/drawing/2012/chart" uri="{02D57815-91ED-43cb-92C2-25804820EDAC}">
              <c15:datalabelsRange>
                <c15:f>Sheet1!$E$2:$E$10</c15:f>
                <c15:dlblRangeCache>
                  <c:ptCount val="9"/>
                  <c:pt idx="0">
                    <c:v>Hydro Silk</c:v>
                  </c:pt>
                  <c:pt idx="1">
                    <c:v>Japonesque</c:v>
                  </c:pt>
                  <c:pt idx="2">
                    <c:v>Rem Pl</c:v>
                  </c:pt>
                  <c:pt idx="3">
                    <c:v>Universal Razor</c:v>
                  </c:pt>
                  <c:pt idx="4">
                    <c:v>Clio</c:v>
                  </c:pt>
                  <c:pt idx="5">
                    <c:v>Revlon</c:v>
                  </c:pt>
                  <c:pt idx="6">
                    <c:v>Flamingo</c:v>
                  </c:pt>
                  <c:pt idx="7">
                    <c:v>Gillette Venus</c:v>
                  </c:pt>
                  <c:pt idx="8">
                    <c:v>Evribeaut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6CFC1F-D421-4DAD-A5BC-A578FA506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055065-C8B3-4A66-8534-733467C84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0894C5-BD28-43C8-8A60-54D340B6D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A2E13D-F0C8-4938-9E06-54F5F3A96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29F74E-ED88-450A-8C66-E588B2870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396B72-17C9-4A4F-AC4E-AA1E9545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F31147-23C2-46F6-87EF-4CD6439B1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678DE2-E906-45EA-A3DD-3A4E86C37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9698531950017735</c:v>
                </c:pt>
                <c:pt idx="1">
                  <c:v>3.802279370363447</c:v>
                </c:pt>
                <c:pt idx="2">
                  <c:v>12.94712639876523</c:v>
                </c:pt>
                <c:pt idx="3">
                  <c:v>1.848068941653602</c:v>
                </c:pt>
                <c:pt idx="4">
                  <c:v>1.5764604420398169</c:v>
                </c:pt>
              </c:numCache>
            </c:numRef>
          </c:xVal>
          <c:yVal>
            <c:numRef>
              <c:f>Sheet1!$B$2:$B$6</c:f>
              <c:numCache>
                <c:formatCode>General</c:formatCode>
                <c:ptCount val="5"/>
                <c:pt idx="0">
                  <c:v>3.8305274858710292</c:v>
                </c:pt>
                <c:pt idx="1">
                  <c:v>0.5635139326520654</c:v>
                </c:pt>
                <c:pt idx="2">
                  <c:v>1.725015139643427</c:v>
                </c:pt>
                <c:pt idx="3">
                  <c:v>0.46606604487647452</c:v>
                </c:pt>
                <c:pt idx="4">
                  <c:v>0.4367363131113412</c:v>
                </c:pt>
              </c:numCache>
            </c:numRef>
          </c:yVal>
          <c:bubbleSize>
            <c:numRef>
              <c:f>Sheet1!$C$2:$C$6</c:f>
              <c:numCache>
                <c:formatCode>General</c:formatCode>
                <c:ptCount val="5"/>
                <c:pt idx="0">
                  <c:v>37703262</c:v>
                </c:pt>
                <c:pt idx="1">
                  <c:v>30651501</c:v>
                </c:pt>
                <c:pt idx="2">
                  <c:v>11743691</c:v>
                </c:pt>
                <c:pt idx="3">
                  <c:v>5736114</c:v>
                </c:pt>
                <c:pt idx="4">
                  <c:v>2219114</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pt idx="3">
                    <c:v>Pbg Pl</c:v>
                  </c:pt>
                  <c:pt idx="4">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224BDD-B1F3-4ABD-ACBE-C638AE960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DDD45C-A07D-4432-B107-75428D761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D171BF-204D-4799-BA65-06131C5B5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865BBD-8BC4-47EF-ACA8-8A370CC0B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087A48-6791-4463-B245-3D661E083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9E9122-1CE1-484C-A9C3-DDA710DC1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41D379-0B3A-408A-B296-CC5FE49AB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141040-DBDE-4E69-A082-8EDFD3FA7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52388520959656</c:v>
                </c:pt>
                <c:pt idx="1">
                  <c:v>17.0002283286344</c:v>
                </c:pt>
                <c:pt idx="2">
                  <c:v>12.52346573070316</c:v>
                </c:pt>
                <c:pt idx="3">
                  <c:v>11.96032511365202</c:v>
                </c:pt>
                <c:pt idx="4">
                  <c:v>11.9269282398631</c:v>
                </c:pt>
                <c:pt idx="5">
                  <c:v>8.035689164561818</c:v>
                </c:pt>
                <c:pt idx="6">
                  <c:v>13.079059639143191</c:v>
                </c:pt>
                <c:pt idx="7">
                  <c:v>13.97784791965567</c:v>
                </c:pt>
                <c:pt idx="8">
                  <c:v>7.021989602360545</c:v>
                </c:pt>
              </c:numCache>
            </c:numRef>
          </c:xVal>
          <c:yVal>
            <c:numRef>
              <c:f>Sheet1!$B$2:$B$10</c:f>
              <c:numCache>
                <c:formatCode>General</c:formatCode>
                <c:ptCount val="9"/>
                <c:pt idx="0">
                  <c:v>1.094704122759028</c:v>
                </c:pt>
                <c:pt idx="1">
                  <c:v>1.5424741311679191</c:v>
                </c:pt>
                <c:pt idx="2">
                  <c:v>1.146439054053406</c:v>
                </c:pt>
                <c:pt idx="3">
                  <c:v>1.1037720014084731</c:v>
                </c:pt>
                <c:pt idx="4">
                  <c:v>1.022849816206052</c:v>
                </c:pt>
                <c:pt idx="5">
                  <c:v>0.57209347960527346</c:v>
                </c:pt>
                <c:pt idx="6">
                  <c:v>0.68926378893846518</c:v>
                </c:pt>
                <c:pt idx="7">
                  <c:v>0.33049930265856481</c:v>
                </c:pt>
                <c:pt idx="8">
                  <c:v>0.99356238391267793</c:v>
                </c:pt>
              </c:numCache>
            </c:numRef>
          </c:yVal>
          <c:bubbleSize>
            <c:numRef>
              <c:f>Sheet1!$C$2:$C$10</c:f>
              <c:numCache>
                <c:formatCode>General</c:formatCode>
                <c:ptCount val="9"/>
                <c:pt idx="0">
                  <c:v>9494946</c:v>
                </c:pt>
                <c:pt idx="1">
                  <c:v>1712467</c:v>
                </c:pt>
                <c:pt idx="2">
                  <c:v>1691269</c:v>
                </c:pt>
                <c:pt idx="3">
                  <c:v>1215480</c:v>
                </c:pt>
                <c:pt idx="4">
                  <c:v>1163937</c:v>
                </c:pt>
                <c:pt idx="5">
                  <c:v>1005329</c:v>
                </c:pt>
                <c:pt idx="6">
                  <c:v>294305</c:v>
                </c:pt>
                <c:pt idx="7">
                  <c:v>243564</c:v>
                </c:pt>
                <c:pt idx="8">
                  <c:v>19990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Skintimate</c:v>
                  </c:pt>
                  <c:pt idx="6">
                    <c:v>Quattro</c:v>
                  </c:pt>
                  <c:pt idx="7">
                    <c:v>Daisy</c:v>
                  </c:pt>
                  <c:pt idx="8">
                    <c:v>Revl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216012-3102-492D-B2A8-4D836D5C0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7DCBC9-F7AC-44FF-AF3F-D77E58A1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ECDFB6-A8EB-43C3-8577-692B29995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A4FD58-0618-422E-84EA-63AE9F4B6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F449AE5-E2EA-4638-A3E8-0FB77BAD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A8ED5E-58B0-4910-A4A9-4EFBD4E5B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060E1C-D1DD-4DCC-900F-16A17797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D324AD-E9B2-4458-BE62-0C41D4856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1418653775668</c:v>
                </c:pt>
                <c:pt idx="1">
                  <c:v>6.7500859890257852</c:v>
                </c:pt>
                <c:pt idx="2">
                  <c:v>4.0333024624768701</c:v>
                </c:pt>
              </c:numCache>
            </c:numRef>
          </c:xVal>
          <c:yVal>
            <c:numRef>
              <c:f>Sheet1!$B$2:$B$4</c:f>
              <c:numCache>
                <c:formatCode>General</c:formatCode>
                <c:ptCount val="3"/>
                <c:pt idx="0">
                  <c:v>1.2796993122082601</c:v>
                </c:pt>
                <c:pt idx="1">
                  <c:v>0.62194628723827239</c:v>
                </c:pt>
                <c:pt idx="2">
                  <c:v>0.5458237360311774</c:v>
                </c:pt>
              </c:numCache>
            </c:numRef>
          </c:yVal>
          <c:bubbleSize>
            <c:numRef>
              <c:f>Sheet1!$C$2:$C$4</c:f>
              <c:numCache>
                <c:formatCode>General</c:formatCode>
                <c:ptCount val="3"/>
                <c:pt idx="0">
                  <c:v>273160353</c:v>
                </c:pt>
                <c:pt idx="1">
                  <c:v>61288398</c:v>
                </c:pt>
                <c:pt idx="2">
                  <c:v>2172287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EB7765-F941-498E-BA4C-BDE15B360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FC624E-068D-4F88-B9B5-C47314F35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D74DF7-C4A4-46B3-96C3-43F0C3277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B1DDB2-6DB3-41AB-8501-2FC38B2AF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72F6D8-8D82-40B3-BF67-39B3AC5B9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D683E4-A883-4519-AF76-247692761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314C79-9EE3-4D00-A4CD-6457725C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A2CCBA-127C-4F58-8492-47359E0F4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217666374349241</c:v>
                </c:pt>
                <c:pt idx="1">
                  <c:v>6.808613354342512</c:v>
                </c:pt>
                <c:pt idx="2">
                  <c:v>6.273584382192908</c:v>
                </c:pt>
                <c:pt idx="3">
                  <c:v>11.892871374153881</c:v>
                </c:pt>
                <c:pt idx="4">
                  <c:v>5.1148300806771916</c:v>
                </c:pt>
                <c:pt idx="5">
                  <c:v>6.342907677436604</c:v>
                </c:pt>
                <c:pt idx="6">
                  <c:v>14.977906438165819</c:v>
                </c:pt>
              </c:numCache>
            </c:numRef>
          </c:xVal>
          <c:yVal>
            <c:numRef>
              <c:f>Sheet1!$B$2:$B$8</c:f>
              <c:numCache>
                <c:formatCode>General</c:formatCode>
                <c:ptCount val="7"/>
                <c:pt idx="0">
                  <c:v>1.641802451724699</c:v>
                </c:pt>
                <c:pt idx="1">
                  <c:v>0.62091835298698139</c:v>
                </c:pt>
                <c:pt idx="2">
                  <c:v>0.66023940970493888</c:v>
                </c:pt>
                <c:pt idx="3">
                  <c:v>0.8452907666443692</c:v>
                </c:pt>
                <c:pt idx="4">
                  <c:v>0.57600620110499234</c:v>
                </c:pt>
                <c:pt idx="5">
                  <c:v>0.98178660043166244</c:v>
                </c:pt>
                <c:pt idx="6">
                  <c:v>1.4683140545371201</c:v>
                </c:pt>
              </c:numCache>
            </c:numRef>
          </c:yVal>
          <c:bubbleSize>
            <c:numRef>
              <c:f>Sheet1!$C$2:$C$8</c:f>
              <c:numCache>
                <c:formatCode>General</c:formatCode>
                <c:ptCount val="7"/>
                <c:pt idx="0">
                  <c:v>79279556</c:v>
                </c:pt>
                <c:pt idx="1">
                  <c:v>22201506</c:v>
                </c:pt>
                <c:pt idx="2">
                  <c:v>18768444</c:v>
                </c:pt>
                <c:pt idx="3">
                  <c:v>9282065</c:v>
                </c:pt>
                <c:pt idx="4">
                  <c:v>6748159</c:v>
                </c:pt>
                <c:pt idx="5">
                  <c:v>4626168</c:v>
                </c:pt>
                <c:pt idx="6">
                  <c:v>226361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Quattro</c:v>
                  </c:pt>
                  <c:pt idx="4">
                    <c:v>Pbg Pl</c:v>
                  </c:pt>
                  <c:pt idx="5">
                    <c:v>Bic Easyrinse</c:v>
                  </c:pt>
                  <c:pt idx="6">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6A9837-14A4-4C08-9948-70A8FAAF9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B1A220-4379-4663-9D86-E0695F2A1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335CED-7C9C-40C5-81AE-76546AE8D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22389C-4B83-4FE0-BB3F-43EBCFC5B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7D9CFE-9422-4BF0-BA8B-6922B7DC7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E0C288-DE33-4954-9F37-F03AEA5D5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DE2886-CA84-46E0-A10B-40FB11424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A84FF9-0D20-4F0A-9EE1-EB1A20318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752948037582978</c:v>
                </c:pt>
                <c:pt idx="1">
                  <c:v>10.738790170881201</c:v>
                </c:pt>
                <c:pt idx="2">
                  <c:v>11.500815093548511</c:v>
                </c:pt>
                <c:pt idx="3">
                  <c:v>13.46705937712326</c:v>
                </c:pt>
                <c:pt idx="4">
                  <c:v>5.6652925806777734</c:v>
                </c:pt>
                <c:pt idx="5">
                  <c:v>7.2686124834215287</c:v>
                </c:pt>
                <c:pt idx="6">
                  <c:v>10.622746003770221</c:v>
                </c:pt>
                <c:pt idx="7">
                  <c:v>13.348199114360741</c:v>
                </c:pt>
                <c:pt idx="8">
                  <c:v>19.288601764025341</c:v>
                </c:pt>
              </c:numCache>
            </c:numRef>
          </c:xVal>
          <c:yVal>
            <c:numRef>
              <c:f>Sheet1!$B$2:$B$10</c:f>
              <c:numCache>
                <c:formatCode>General</c:formatCode>
                <c:ptCount val="9"/>
                <c:pt idx="0">
                  <c:v>1.570007837217255</c:v>
                </c:pt>
                <c:pt idx="1">
                  <c:v>0.83706960187326618</c:v>
                </c:pt>
                <c:pt idx="2">
                  <c:v>0.89042743498139032</c:v>
                </c:pt>
                <c:pt idx="3">
                  <c:v>1.330011101516972</c:v>
                </c:pt>
                <c:pt idx="4">
                  <c:v>0.51892539665915993</c:v>
                </c:pt>
                <c:pt idx="5">
                  <c:v>0.8430730042290534</c:v>
                </c:pt>
                <c:pt idx="6">
                  <c:v>0.79205789293519302</c:v>
                </c:pt>
                <c:pt idx="7">
                  <c:v>0.44610336377036158</c:v>
                </c:pt>
                <c:pt idx="8">
                  <c:v>0.76803825619997157</c:v>
                </c:pt>
              </c:numCache>
            </c:numRef>
          </c:yVal>
          <c:bubbleSize>
            <c:numRef>
              <c:f>Sheet1!$C$2:$C$10</c:f>
              <c:numCache>
                <c:formatCode>General</c:formatCode>
                <c:ptCount val="9"/>
                <c:pt idx="0">
                  <c:v>200106526</c:v>
                </c:pt>
                <c:pt idx="1">
                  <c:v>64515870</c:v>
                </c:pt>
                <c:pt idx="2">
                  <c:v>63416541</c:v>
                </c:pt>
                <c:pt idx="3">
                  <c:v>60215505</c:v>
                </c:pt>
                <c:pt idx="4">
                  <c:v>46567385</c:v>
                </c:pt>
                <c:pt idx="5">
                  <c:v>32597779</c:v>
                </c:pt>
                <c:pt idx="6">
                  <c:v>27025838</c:v>
                </c:pt>
                <c:pt idx="7">
                  <c:v>6221649</c:v>
                </c:pt>
                <c:pt idx="8">
                  <c:v>54519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pt idx="4">
                    <c:v>Pbg Pl</c:v>
                  </c:pt>
                  <c:pt idx="5">
                    <c:v>Bic Soleil</c:v>
                  </c:pt>
                  <c:pt idx="6">
                    <c:v>Joy</c:v>
                  </c:pt>
                  <c:pt idx="7">
                    <c:v>Amazon</c:v>
                  </c:pt>
                  <c:pt idx="8">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A6C3CA-E22E-4928-AFE8-69D86A69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6533C36-E6DC-46A3-8E93-D99284170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09E043-6528-46F2-85A2-86F6436F2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D44D23-3736-4D32-8B71-001AFEA3E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95E5923-6428-4B86-BA01-6B04B3445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AFFAD4D-0D80-4A86-9B1D-B8578E865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604D68-2980-4210-A7A9-F4C23F77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D58604-B965-4658-86E9-1189AD050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965234579384919</c:v>
                </c:pt>
              </c:numCache>
            </c:numRef>
          </c:xVal>
          <c:yVal>
            <c:numRef>
              <c:f>Sheet1!$B$2:$B$2</c:f>
              <c:numCache>
                <c:formatCode>General</c:formatCode>
                <c:ptCount val="1"/>
                <c:pt idx="0">
                  <c:v>0.98458446167171576</c:v>
                </c:pt>
              </c:numCache>
            </c:numRef>
          </c:yVal>
          <c:bubbleSize>
            <c:numRef>
              <c:f>Sheet1!$C$2:$C$2</c:f>
              <c:numCache>
                <c:formatCode>General</c:formatCode>
                <c:ptCount val="1"/>
                <c:pt idx="0">
                  <c:v>481329</c:v>
                </c:pt>
              </c:numCache>
            </c:numRef>
          </c:bubbleSize>
          <c:bubble3D val="0"/>
          <c:extLst>
            <c:ext xmlns:c15="http://schemas.microsoft.com/office/drawing/2012/chart" uri="{02D57815-91ED-43cb-92C2-25804820EDAC}">
              <c15:datalabelsRange>
                <c15:f>Sheet1!$E$2:$E$10</c15:f>
                <c15:dlblRangeCache>
                  <c:ptCount val="9"/>
                  <c:pt idx="0">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C5D90C-905A-4219-884F-40FF59D6B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8670CC-4CF8-47C7-A1C1-A8ABC1142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489D76-B2AF-4A21-8ABA-C96A00184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8F164F-3486-4721-90A5-C2B714AE6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9EC130-540C-4FE2-B3E3-81EFF0CD1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A482861-48E5-4709-B9B3-CFF7AE47E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E483EF-5169-459F-8E12-92B53F64E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DC2B1E-7EE4-4985-B890-D55A36050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10345818928468</c:v>
                </c:pt>
                <c:pt idx="1">
                  <c:v>8.0881935793407624</c:v>
                </c:pt>
                <c:pt idx="2">
                  <c:v>4.385378101195796</c:v>
                </c:pt>
              </c:numCache>
            </c:numRef>
          </c:xVal>
          <c:yVal>
            <c:numRef>
              <c:f>Sheet1!$B$2:$B$4</c:f>
              <c:numCache>
                <c:formatCode>General</c:formatCode>
                <c:ptCount val="3"/>
                <c:pt idx="0">
                  <c:v>1.355032917022954</c:v>
                </c:pt>
                <c:pt idx="1">
                  <c:v>0.66166334249785275</c:v>
                </c:pt>
                <c:pt idx="2">
                  <c:v>0.35797992595414929</c:v>
                </c:pt>
              </c:numCache>
            </c:numRef>
          </c:yVal>
          <c:bubbleSize>
            <c:numRef>
              <c:f>Sheet1!$C$2:$C$4</c:f>
              <c:numCache>
                <c:formatCode>General</c:formatCode>
                <c:ptCount val="3"/>
                <c:pt idx="0">
                  <c:v>13090511</c:v>
                </c:pt>
                <c:pt idx="1">
                  <c:v>3843639</c:v>
                </c:pt>
                <c:pt idx="2">
                  <c:v>2061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Noxzema Ba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63A202-0B86-47F7-95A8-493C180DD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84BD9-D1CE-4C3B-BF1B-CD85706E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36C337-0358-47A5-863F-D5993AE94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477E4F-9221-454E-9BDB-14E6F0EF7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E73BFF-7BC2-4AB6-A408-1AF5F0375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4979E29-69F6-4267-834C-87D146E2A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2E5546-8DFB-44BC-9288-0F977E5E5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52B703-0C10-4922-87B3-9933F17A5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18876785108216</c:v>
                </c:pt>
                <c:pt idx="1">
                  <c:v>6.6128882782185441</c:v>
                </c:pt>
                <c:pt idx="2">
                  <c:v>14.989190781923639</c:v>
                </c:pt>
                <c:pt idx="3">
                  <c:v>8.5230290456431543</c:v>
                </c:pt>
              </c:numCache>
            </c:numRef>
          </c:xVal>
          <c:yVal>
            <c:numRef>
              <c:f>Sheet1!$B$2:$B$5</c:f>
              <c:numCache>
                <c:formatCode>General</c:formatCode>
                <c:ptCount val="4"/>
                <c:pt idx="0">
                  <c:v>4.2720134802739347</c:v>
                </c:pt>
                <c:pt idx="1">
                  <c:v>0.32577131698552408</c:v>
                </c:pt>
                <c:pt idx="2">
                  <c:v>1.0425874407697091</c:v>
                </c:pt>
                <c:pt idx="3">
                  <c:v>2.2738928845196602</c:v>
                </c:pt>
              </c:numCache>
            </c:numRef>
          </c:yVal>
          <c:bubbleSize>
            <c:numRef>
              <c:f>Sheet1!$C$2:$C$5</c:f>
              <c:numCache>
                <c:formatCode>General</c:formatCode>
                <c:ptCount val="4"/>
                <c:pt idx="0">
                  <c:v>4347779</c:v>
                </c:pt>
                <c:pt idx="1">
                  <c:v>1641180</c:v>
                </c:pt>
                <c:pt idx="2">
                  <c:v>966533</c:v>
                </c:pt>
                <c:pt idx="3">
                  <c:v>164324</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pt idx="3">
                    <c:v>Silk Effect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19E3AE-94AC-4EE7-987A-A2CD87B40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DD5D4-1736-4F05-B04D-B8DA2C8A8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67047E-A75C-47B1-BE29-0D072ACA2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131DC-9163-421D-BD56-C9F464249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012358-EDEE-40B8-A5BA-7566CEEDB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EE3E01-3F68-4EBD-88FD-7ECCD081E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3E1239-1E0B-4F7C-89CC-DB9224280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DA0EE6-46B2-410F-915A-33CBE40B3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252955116095441</c:v>
                </c:pt>
                <c:pt idx="1">
                  <c:v>10.491883331993771</c:v>
                </c:pt>
              </c:numCache>
            </c:numRef>
          </c:xVal>
          <c:yVal>
            <c:numRef>
              <c:f>Sheet1!$B$2:$B$3</c:f>
              <c:numCache>
                <c:formatCode>General</c:formatCode>
                <c:ptCount val="2"/>
                <c:pt idx="0">
                  <c:v>1.2164090488675949</c:v>
                </c:pt>
                <c:pt idx="1">
                  <c:v>0.5069949225696273</c:v>
                </c:pt>
              </c:numCache>
            </c:numRef>
          </c:yVal>
          <c:bubbleSize>
            <c:numRef>
              <c:f>Sheet1!$C$2:$C$3</c:f>
              <c:numCache>
                <c:formatCode>General</c:formatCode>
                <c:ptCount val="2"/>
                <c:pt idx="0">
                  <c:v>26054647</c:v>
                </c:pt>
                <c:pt idx="1">
                  <c:v>482992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C6CAA3-C013-477F-9A66-E08F3FA70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BDDE83-F2EF-49DA-AC01-8B0CCF477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161526-BBE6-4D6D-B11D-35C5630AC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F56F43-3108-4F83-979E-891D55A04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2CBED1-43B5-4619-80B3-89772FA44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9158DE-D134-4334-A7E3-7C258A0B3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C733E8-E6E5-4530-84DC-FD3FF2468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331EDB-CA9B-4660-A116-F7016FC1C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460100722177621</c:v>
                </c:pt>
                <c:pt idx="1">
                  <c:v>13.4862937428588</c:v>
                </c:pt>
                <c:pt idx="2">
                  <c:v>7.3682956448911234</c:v>
                </c:pt>
                <c:pt idx="3">
                  <c:v>8.162385900174792</c:v>
                </c:pt>
              </c:numCache>
            </c:numRef>
          </c:xVal>
          <c:yVal>
            <c:numRef>
              <c:f>Sheet1!$B$2:$B$5</c:f>
              <c:numCache>
                <c:formatCode>General</c:formatCode>
                <c:ptCount val="4"/>
                <c:pt idx="0">
                  <c:v>1.3036267266656061</c:v>
                </c:pt>
                <c:pt idx="1">
                  <c:v>0.81772868210614391</c:v>
                </c:pt>
                <c:pt idx="2">
                  <c:v>0.58917653393729674</c:v>
                </c:pt>
                <c:pt idx="3">
                  <c:v>1.0518276863885929</c:v>
                </c:pt>
              </c:numCache>
            </c:numRef>
          </c:yVal>
          <c:bubbleSize>
            <c:numRef>
              <c:f>Sheet1!$C$2:$C$5</c:f>
              <c:numCache>
                <c:formatCode>General</c:formatCode>
                <c:ptCount val="4"/>
                <c:pt idx="0">
                  <c:v>8344267</c:v>
                </c:pt>
                <c:pt idx="1">
                  <c:v>2785567</c:v>
                </c:pt>
                <c:pt idx="2">
                  <c:v>1759549</c:v>
                </c:pt>
                <c:pt idx="3">
                  <c:v>336225</c:v>
                </c:pt>
              </c:numCache>
            </c:numRef>
          </c:bubbleSize>
          <c:bubble3D val="0"/>
          <c:extLst>
            <c:ext xmlns:c15="http://schemas.microsoft.com/office/drawing/2012/chart" uri="{02D57815-91ED-43cb-92C2-25804820EDAC}">
              <c15:datalabelsRange>
                <c15:f>Sheet1!$E$2:$E$10</c15:f>
                <c15:dlblRangeCache>
                  <c:ptCount val="9"/>
                  <c:pt idx="0">
                    <c:v>Intuition</c:v>
                  </c:pt>
                  <c:pt idx="1">
                    <c:v>Quattro</c:v>
                  </c:pt>
                  <c:pt idx="2">
                    <c:v>Bic Soleil</c:v>
                  </c:pt>
                  <c:pt idx="3">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FB465F-3039-4F73-8D9F-1636069EF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3F4F6B-471C-4FA8-8A1F-E20737AA4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AF462F-5ABD-47F3-A33C-287942775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5DD883-C549-45F8-B117-2D12E5F71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101F48-998C-46C6-8163-46E987B98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504DC0-2E78-4F2C-8F56-E0AE7A7CA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EF9B48-212E-4859-B14D-8015843B9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332566-9EC8-4D67-8D98-3C78D384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3438416756599</c:v>
                </c:pt>
                <c:pt idx="1">
                  <c:v>15.608283027026619</c:v>
                </c:pt>
                <c:pt idx="2">
                  <c:v>13.34853923375478</c:v>
                </c:pt>
                <c:pt idx="3">
                  <c:v>15.91784377759401</c:v>
                </c:pt>
                <c:pt idx="4">
                  <c:v>19.325888768185401</c:v>
                </c:pt>
                <c:pt idx="5">
                  <c:v>10.82733213749561</c:v>
                </c:pt>
                <c:pt idx="6">
                  <c:v>15.886072655919691</c:v>
                </c:pt>
                <c:pt idx="7">
                  <c:v>8.159722744393024</c:v>
                </c:pt>
              </c:numCache>
            </c:numRef>
          </c:xVal>
          <c:yVal>
            <c:numRef>
              <c:f>Sheet1!$B$2:$B$9</c:f>
              <c:numCache>
                <c:formatCode>General</c:formatCode>
                <c:ptCount val="8"/>
                <c:pt idx="0">
                  <c:v>1.797574496611249</c:v>
                </c:pt>
                <c:pt idx="1">
                  <c:v>1.266388974225453</c:v>
                </c:pt>
                <c:pt idx="2">
                  <c:v>0.55046982243961429</c:v>
                </c:pt>
                <c:pt idx="3">
                  <c:v>0.98051118705558804</c:v>
                </c:pt>
                <c:pt idx="4">
                  <c:v>0.94719163737915635</c:v>
                </c:pt>
                <c:pt idx="5">
                  <c:v>0.43991258334960548</c:v>
                </c:pt>
                <c:pt idx="6">
                  <c:v>0.83201526124828695</c:v>
                </c:pt>
                <c:pt idx="7">
                  <c:v>0.84757421268588096</c:v>
                </c:pt>
              </c:numCache>
            </c:numRef>
          </c:yVal>
          <c:bubbleSize>
            <c:numRef>
              <c:f>Sheet1!$C$2:$C$9</c:f>
              <c:numCache>
                <c:formatCode>General</c:formatCode>
                <c:ptCount val="8"/>
                <c:pt idx="0">
                  <c:v>24951713</c:v>
                </c:pt>
                <c:pt idx="1">
                  <c:v>8265975</c:v>
                </c:pt>
                <c:pt idx="2">
                  <c:v>6221634</c:v>
                </c:pt>
                <c:pt idx="3">
                  <c:v>5678452</c:v>
                </c:pt>
                <c:pt idx="4">
                  <c:v>5443755</c:v>
                </c:pt>
                <c:pt idx="5">
                  <c:v>5329895</c:v>
                </c:pt>
                <c:pt idx="6">
                  <c:v>2930758</c:v>
                </c:pt>
                <c:pt idx="7">
                  <c:v>119369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Flamingo</c:v>
                  </c:pt>
                  <c:pt idx="4">
                    <c:v>Intuition</c:v>
                  </c:pt>
                  <c:pt idx="5">
                    <c:v>Billie</c:v>
                  </c:pt>
                  <c:pt idx="6">
                    <c:v>Joy</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DD955-C283-4045-B77B-3C299F147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46269F-8157-49AE-9206-090670140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C52A581-4329-4D67-907E-4001CC493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F73C26D-3C4D-447E-8CB1-68FEB197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9801035-0588-4945-83CF-BFF55DAFA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80FDEA-8468-419D-A84E-7AA1AAC93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7A5889-0B35-452A-BC8D-87041AA5C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64C2A8-08F7-46EA-8AFA-77ACA7208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954201969315321</c:v>
                </c:pt>
              </c:numCache>
            </c:numRef>
          </c:xVal>
          <c:yVal>
            <c:numRef>
              <c:f>Sheet1!$B$2:$B$2</c:f>
              <c:numCache>
                <c:formatCode>General</c:formatCode>
                <c:ptCount val="1"/>
                <c:pt idx="0">
                  <c:v>1.5730086662238629</c:v>
                </c:pt>
              </c:numCache>
            </c:numRef>
          </c:yVal>
          <c:bubbleSize>
            <c:numRef>
              <c:f>Sheet1!$C$2:$C$2</c:f>
              <c:numCache>
                <c:formatCode>General</c:formatCode>
                <c:ptCount val="1"/>
                <c:pt idx="0">
                  <c:v>65305</c:v>
                </c:pt>
              </c:numCache>
            </c:numRef>
          </c:bubbleSize>
          <c:bubble3D val="0"/>
          <c:extLst>
            <c:ext xmlns:c15="http://schemas.microsoft.com/office/drawing/2012/chart" uri="{02D57815-91ED-43cb-92C2-25804820EDAC}">
              <c15:datalabelsRange>
                <c15:f>Sheet1!$E$2:$E$10</c15:f>
                <c15:dlblRangeCache>
                  <c:ptCount val="9"/>
                  <c:pt idx="0">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0BF6B8-A044-4928-B5E7-14F4352E6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53FD8F-A14C-47A1-9FCF-6D3E6092B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89875D-00CC-466B-9FB1-21A56E4F6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B785D5-195D-4CB8-A5E8-8A7430106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A5F85E-A339-4A1D-8D77-03E9B376F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FF938C-12BC-4A37-8ED2-920D6182A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480014-F72E-4891-81BD-C1624B87F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1F5757-88AC-461F-A67F-2E2333CCE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1.760395203867111</c:v>
                </c:pt>
                <c:pt idx="1">
                  <c:v>12.03703954312935</c:v>
                </c:pt>
                <c:pt idx="2">
                  <c:v>7.8720632031767046</c:v>
                </c:pt>
                <c:pt idx="3">
                  <c:v>16.563936449174761</c:v>
                </c:pt>
                <c:pt idx="4">
                  <c:v>11.8523684148106</c:v>
                </c:pt>
                <c:pt idx="5">
                  <c:v>12.1319242516799</c:v>
                </c:pt>
                <c:pt idx="6">
                  <c:v>7.0626189143816456</c:v>
                </c:pt>
                <c:pt idx="7">
                  <c:v>13.221085066578629</c:v>
                </c:pt>
                <c:pt idx="8">
                  <c:v>5.7719676820394437</c:v>
                </c:pt>
              </c:numCache>
            </c:numRef>
          </c:xVal>
          <c:yVal>
            <c:numRef>
              <c:f>Sheet1!$B$2:$B$10</c:f>
              <c:numCache>
                <c:formatCode>General</c:formatCode>
                <c:ptCount val="9"/>
                <c:pt idx="0">
                  <c:v>1.0944867511522061</c:v>
                </c:pt>
                <c:pt idx="1">
                  <c:v>1.187324096122206</c:v>
                </c:pt>
                <c:pt idx="2">
                  <c:v>0.59389447365293679</c:v>
                </c:pt>
                <c:pt idx="3">
                  <c:v>1.673650144457572</c:v>
                </c:pt>
                <c:pt idx="4">
                  <c:v>1.1004631359600281</c:v>
                </c:pt>
                <c:pt idx="5">
                  <c:v>1.201816083068161</c:v>
                </c:pt>
                <c:pt idx="6">
                  <c:v>1.0601706470341941</c:v>
                </c:pt>
                <c:pt idx="7">
                  <c:v>0.74365115033435958</c:v>
                </c:pt>
                <c:pt idx="8">
                  <c:v>0.58358450444800769</c:v>
                </c:pt>
              </c:numCache>
            </c:numRef>
          </c:yVal>
          <c:bubbleSize>
            <c:numRef>
              <c:f>Sheet1!$C$2:$C$10</c:f>
              <c:numCache>
                <c:formatCode>General</c:formatCode>
                <c:ptCount val="9"/>
                <c:pt idx="0">
                  <c:v>4486285</c:v>
                </c:pt>
                <c:pt idx="1">
                  <c:v>889465</c:v>
                </c:pt>
                <c:pt idx="2">
                  <c:v>761260</c:v>
                </c:pt>
                <c:pt idx="3">
                  <c:v>644304</c:v>
                </c:pt>
                <c:pt idx="4">
                  <c:v>499684</c:v>
                </c:pt>
                <c:pt idx="5">
                  <c:v>496499</c:v>
                </c:pt>
                <c:pt idx="6">
                  <c:v>126209</c:v>
                </c:pt>
                <c:pt idx="7">
                  <c:v>120140</c:v>
                </c:pt>
                <c:pt idx="8">
                  <c:v>11501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Skintimate</c:v>
                  </c:pt>
                  <c:pt idx="3">
                    <c:v>Intuition</c:v>
                  </c:pt>
                  <c:pt idx="4">
                    <c:v>Flamingo</c:v>
                  </c:pt>
                  <c:pt idx="5">
                    <c:v>Billie</c:v>
                  </c:pt>
                  <c:pt idx="6">
                    <c:v>Revlon</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5A563C-8A61-4719-92A5-E48817D9B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DBE642-DF0F-48DD-B6EF-837532487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6A18E5-BABD-4DBD-99F0-E9ACE3654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C6332D2-AAC8-437C-B93D-83A26259E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37DF3C-FDA5-4972-A60F-14486600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C29AD3-ADCB-4501-AD2C-E5688AAF5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04A38-BBD6-45BD-9968-99E48BC5C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F37658-CB24-4524-A127-6B1D886E2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080235401384229</c:v>
                </c:pt>
                <c:pt idx="1">
                  <c:v>11.02348525600274</c:v>
                </c:pt>
                <c:pt idx="2">
                  <c:v>4.9742955216731861</c:v>
                </c:pt>
              </c:numCache>
            </c:numRef>
          </c:xVal>
          <c:yVal>
            <c:numRef>
              <c:f>Sheet1!$B$2:$B$4</c:f>
              <c:numCache>
                <c:formatCode>General</c:formatCode>
                <c:ptCount val="3"/>
                <c:pt idx="0">
                  <c:v>1.072839999017642</c:v>
                </c:pt>
                <c:pt idx="1">
                  <c:v>1.026445752149528</c:v>
                </c:pt>
                <c:pt idx="2">
                  <c:v>0.45449741821934958</c:v>
                </c:pt>
              </c:numCache>
            </c:numRef>
          </c:yVal>
          <c:bubbleSize>
            <c:numRef>
              <c:f>Sheet1!$C$2:$C$4</c:f>
              <c:numCache>
                <c:formatCode>General</c:formatCode>
                <c:ptCount val="3"/>
                <c:pt idx="0">
                  <c:v>4577805</c:v>
                </c:pt>
                <c:pt idx="1">
                  <c:v>901677</c:v>
                </c:pt>
                <c:pt idx="2">
                  <c:v>1869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Noxzema Ba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EAFA27-63AF-4D26-88E1-A8362E4E8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7C8141-B29C-461C-BC94-6C33ABC96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CBC438-99E7-4EA9-A1BE-C2E50E0C5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024F9D-1BB4-412B-968B-DCA51E4EB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30F7FA-9281-4183-A913-F10181A2D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309C3-949F-4631-835A-BA9028138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BDC8CA-2E8B-4690-8E67-88CEA52DD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4BA96E-B80A-4A50-89A3-9A9228C65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959896882134</c:v>
                </c:pt>
                <c:pt idx="1">
                  <c:v>5.9151261465574674</c:v>
                </c:pt>
                <c:pt idx="2">
                  <c:v>7.1250459018801413</c:v>
                </c:pt>
                <c:pt idx="3">
                  <c:v>9.676184034236508</c:v>
                </c:pt>
                <c:pt idx="4">
                  <c:v>12.49310052420598</c:v>
                </c:pt>
                <c:pt idx="5">
                  <c:v>6.5123678810212056</c:v>
                </c:pt>
                <c:pt idx="6">
                  <c:v>12.037599093997731</c:v>
                </c:pt>
                <c:pt idx="7">
                  <c:v>5.3869569270930446</c:v>
                </c:pt>
              </c:numCache>
            </c:numRef>
          </c:xVal>
          <c:yVal>
            <c:numRef>
              <c:f>Sheet1!$B$2:$B$9</c:f>
              <c:numCache>
                <c:formatCode>General</c:formatCode>
                <c:ptCount val="8"/>
                <c:pt idx="0">
                  <c:v>1.1214996901254051</c:v>
                </c:pt>
                <c:pt idx="1">
                  <c:v>0.78786780531846468</c:v>
                </c:pt>
                <c:pt idx="2">
                  <c:v>1.4095416881806631</c:v>
                </c:pt>
                <c:pt idx="3">
                  <c:v>1.3135402918516941</c:v>
                </c:pt>
                <c:pt idx="4">
                  <c:v>1.647437939802725</c:v>
                </c:pt>
                <c:pt idx="5">
                  <c:v>0.88286862947293732</c:v>
                </c:pt>
                <c:pt idx="6">
                  <c:v>1.69813109655818</c:v>
                </c:pt>
                <c:pt idx="7">
                  <c:v>0.71038366354330762</c:v>
                </c:pt>
              </c:numCache>
            </c:numRef>
          </c:yVal>
          <c:bubbleSize>
            <c:numRef>
              <c:f>Sheet1!$C$2:$C$9</c:f>
              <c:numCache>
                <c:formatCode>General</c:formatCode>
                <c:ptCount val="8"/>
                <c:pt idx="0">
                  <c:v>1950313</c:v>
                </c:pt>
                <c:pt idx="1">
                  <c:v>878970</c:v>
                </c:pt>
                <c:pt idx="2">
                  <c:v>776117</c:v>
                </c:pt>
                <c:pt idx="3">
                  <c:v>743876</c:v>
                </c:pt>
                <c:pt idx="4">
                  <c:v>324121</c:v>
                </c:pt>
                <c:pt idx="5">
                  <c:v>295134</c:v>
                </c:pt>
                <c:pt idx="6">
                  <c:v>159438</c:v>
                </c:pt>
                <c:pt idx="7">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44901F-0FAB-421C-8337-C57A5E048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BE479B-A6E1-42DC-B344-88FC3BD87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17C0AF-C21E-4F06-8E93-B42624625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6B8A2A-133D-4E66-B00B-BAD10F24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99CDE07-8467-420B-8E86-214C36238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48F2DE-E89B-4BE2-8DC2-BC7CEE1C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8345AA-6E73-4BF6-B9D6-0169E248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924B38-DFAE-44B8-99D3-0CC88E92A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631196414760041</c:v>
                </c:pt>
                <c:pt idx="1">
                  <c:v>14.52859602040053</c:v>
                </c:pt>
              </c:numCache>
            </c:numRef>
          </c:xVal>
          <c:yVal>
            <c:numRef>
              <c:f>Sheet1!$B$2:$B$3</c:f>
              <c:numCache>
                <c:formatCode>General</c:formatCode>
                <c:ptCount val="2"/>
                <c:pt idx="0">
                  <c:v>1.820351433528937</c:v>
                </c:pt>
                <c:pt idx="1">
                  <c:v>0.52094796905947738</c:v>
                </c:pt>
              </c:numCache>
            </c:numRef>
          </c:yVal>
          <c:bubbleSize>
            <c:numRef>
              <c:f>Sheet1!$C$2:$C$3</c:f>
              <c:numCache>
                <c:formatCode>General</c:formatCode>
                <c:ptCount val="2"/>
                <c:pt idx="0">
                  <c:v>2667311</c:v>
                </c:pt>
                <c:pt idx="1">
                  <c:v>1358816</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3B0248-AABE-46F7-8066-C13BDA801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52EBDA-3952-45F4-A6E7-EBC46E6A0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0410D8-642F-4A94-ABDB-451A12634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596C704-610B-4C7B-A2CD-EF1F40EC3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354945-C4A3-45D6-8D38-488ACEF2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F439D4-9A5A-4BA7-8F2B-43347730C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783507-5FA2-478C-99E7-69903928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373EEB-DB37-4C47-B6DC-52525FE2B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395683397871579</c:v>
                </c:pt>
                <c:pt idx="1">
                  <c:v>10.04274814000676</c:v>
                </c:pt>
              </c:numCache>
            </c:numRef>
          </c:xVal>
          <c:yVal>
            <c:numRef>
              <c:f>Sheet1!$B$2:$B$3</c:f>
              <c:numCache>
                <c:formatCode>General</c:formatCode>
                <c:ptCount val="2"/>
                <c:pt idx="0">
                  <c:v>1.00197463794459</c:v>
                </c:pt>
                <c:pt idx="1">
                  <c:v>1.013160157497119</c:v>
                </c:pt>
              </c:numCache>
            </c:numRef>
          </c:yVal>
          <c:bubbleSize>
            <c:numRef>
              <c:f>Sheet1!$C$2:$C$3</c:f>
              <c:numCache>
                <c:formatCode>General</c:formatCode>
                <c:ptCount val="2"/>
                <c:pt idx="0">
                  <c:v>26653626</c:v>
                </c:pt>
                <c:pt idx="1">
                  <c:v>95028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90273A-C6AC-4C7C-9DD5-6B6259E1A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9EE721-BC4B-48DB-9EF7-A08F8341D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A3C9EE-0C1F-4A4C-9878-B76D27003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438224-EC0B-4C65-8FB2-747AF443E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D53964-8AA3-432E-B371-D11F97D25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AEDC8C-5AF3-4025-AEBD-D728CCCF8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266565-3008-41E9-9D44-9692340C1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5EBFEF-2872-45D0-9B15-39841B624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2567735826294</c:v>
                </c:pt>
                <c:pt idx="1">
                  <c:v>8.1332885020900552</c:v>
                </c:pt>
                <c:pt idx="2">
                  <c:v>13.68039158414442</c:v>
                </c:pt>
              </c:numCache>
            </c:numRef>
          </c:xVal>
          <c:yVal>
            <c:numRef>
              <c:f>Sheet1!$B$2:$B$4</c:f>
              <c:numCache>
                <c:formatCode>General</c:formatCode>
                <c:ptCount val="3"/>
                <c:pt idx="0">
                  <c:v>1.656267763147238</c:v>
                </c:pt>
                <c:pt idx="1">
                  <c:v>0.61698225259254669</c:v>
                </c:pt>
                <c:pt idx="2">
                  <c:v>0.75670884254814752</c:v>
                </c:pt>
              </c:numCache>
            </c:numRef>
          </c:yVal>
          <c:bubbleSize>
            <c:numRef>
              <c:f>Sheet1!$C$2:$C$4</c:f>
              <c:numCache>
                <c:formatCode>General</c:formatCode>
                <c:ptCount val="3"/>
                <c:pt idx="0">
                  <c:v>8020511</c:v>
                </c:pt>
                <c:pt idx="1">
                  <c:v>4366177</c:v>
                </c:pt>
                <c:pt idx="2">
                  <c:v>145194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348F0D-9430-4189-BC41-D44AE7F6D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C92892-D167-4453-B43A-0C83DE5C8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8D8ED7-1240-4DBC-AB60-1354C8D39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317B4E-99FC-4581-8BA7-72BFFF9AA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F7AE98-C453-402F-8E1E-024FD9575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9311CF-0374-415F-B4C1-78DFAED4C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DCEB777-F18C-4A7A-AB6E-BF7D95D5B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97876B-1416-4AFA-AFED-2D40544D3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76749257535284</c:v>
                </c:pt>
                <c:pt idx="1">
                  <c:v>12.20244507138583</c:v>
                </c:pt>
                <c:pt idx="2">
                  <c:v>12.763552934662821</c:v>
                </c:pt>
                <c:pt idx="3">
                  <c:v>15.350226198342909</c:v>
                </c:pt>
              </c:numCache>
            </c:numRef>
          </c:xVal>
          <c:yVal>
            <c:numRef>
              <c:f>Sheet1!$B$2:$B$5</c:f>
              <c:numCache>
                <c:formatCode>General</c:formatCode>
                <c:ptCount val="4"/>
                <c:pt idx="0">
                  <c:v>1.298118876606523</c:v>
                </c:pt>
                <c:pt idx="1">
                  <c:v>0.75125977742935957</c:v>
                </c:pt>
                <c:pt idx="2">
                  <c:v>0.7013033968200385</c:v>
                </c:pt>
                <c:pt idx="3">
                  <c:v>1.0735976242375509</c:v>
                </c:pt>
              </c:numCache>
            </c:numRef>
          </c:yVal>
          <c:bubbleSize>
            <c:numRef>
              <c:f>Sheet1!$C$2:$C$5</c:f>
              <c:numCache>
                <c:formatCode>General</c:formatCode>
                <c:ptCount val="4"/>
                <c:pt idx="0">
                  <c:v>14829652</c:v>
                </c:pt>
                <c:pt idx="1">
                  <c:v>4995620</c:v>
                </c:pt>
                <c:pt idx="2">
                  <c:v>4887241</c:v>
                </c:pt>
                <c:pt idx="3">
                  <c:v>483176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4274D3-8CBF-47DE-9888-2B2808A7C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D4460AE-1E35-4C96-90F4-8615A9EED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7D39605-3C00-4B34-BE8E-D445C6BE6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2338F3-6F8F-4706-8B5C-BEB26A1E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15C5B0-EF3D-426D-A61A-5AF1DFAFF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038666-E10C-46A3-89F1-D3941DF1D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7162B0-4F9A-402C-8F2C-6CDB30E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09BB369-F597-41C4-A80A-AAAC348E5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62882631910589</c:v>
                </c:pt>
              </c:numCache>
            </c:numRef>
          </c:xVal>
          <c:yVal>
            <c:numRef>
              <c:f>Sheet1!$B$2:$B$2</c:f>
              <c:numCache>
                <c:formatCode>General</c:formatCode>
                <c:ptCount val="1"/>
                <c:pt idx="0">
                  <c:v>1.4628191104774471</c:v>
                </c:pt>
              </c:numCache>
            </c:numRef>
          </c:yVal>
          <c:bubbleSize>
            <c:numRef>
              <c:f>Sheet1!$C$2:$C$2</c:f>
              <c:numCache>
                <c:formatCode>General</c:formatCode>
                <c:ptCount val="1"/>
                <c:pt idx="0">
                  <c:v>77278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94E84E-2F51-4A29-8789-E8D69FAC2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DDA62B-D791-47B9-B035-86139B749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E00E6B-96B2-4A86-BEC7-7EEAB16BC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2F62DD-7E41-4CEC-825B-7ED68D94F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AEF35B-7C50-407D-B71C-BF11F7D78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D1EDAF-1E54-4BDF-83A1-0A3CC9B5A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DC88E9-7194-48E6-9FCE-490936520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20B76F-1BFF-4AEB-BA29-B98E099FE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18130329774808</c:v>
                </c:pt>
                <c:pt idx="1">
                  <c:v>5.3957194815687934</c:v>
                </c:pt>
                <c:pt idx="2">
                  <c:v>5.9834201725498843</c:v>
                </c:pt>
                <c:pt idx="3">
                  <c:v>4.9614314020305734</c:v>
                </c:pt>
                <c:pt idx="4">
                  <c:v>5.1476640115909378</c:v>
                </c:pt>
                <c:pt idx="5">
                  <c:v>2.854806428486079</c:v>
                </c:pt>
                <c:pt idx="6">
                  <c:v>10.93428401305426</c:v>
                </c:pt>
                <c:pt idx="7">
                  <c:v>2.9410525661093199</c:v>
                </c:pt>
                <c:pt idx="8">
                  <c:v>14.897320365224299</c:v>
                </c:pt>
              </c:numCache>
            </c:numRef>
          </c:xVal>
          <c:yVal>
            <c:numRef>
              <c:f>Sheet1!$B$2:$B$10</c:f>
              <c:numCache>
                <c:formatCode>General</c:formatCode>
                <c:ptCount val="9"/>
                <c:pt idx="0">
                  <c:v>1.1694471575033261</c:v>
                </c:pt>
                <c:pt idx="1">
                  <c:v>1.0896735605481711</c:v>
                </c:pt>
                <c:pt idx="2">
                  <c:v>1.812662378206648</c:v>
                </c:pt>
                <c:pt idx="3">
                  <c:v>1.0020012363012449</c:v>
                </c:pt>
                <c:pt idx="4">
                  <c:v>0.62378177667385448</c:v>
                </c:pt>
                <c:pt idx="5">
                  <c:v>0.58734813861253288</c:v>
                </c:pt>
                <c:pt idx="6">
                  <c:v>2.208246250102055</c:v>
                </c:pt>
                <c:pt idx="7">
                  <c:v>0.89096488675106345</c:v>
                </c:pt>
                <c:pt idx="8">
                  <c:v>3.7351963868437101</c:v>
                </c:pt>
              </c:numCache>
            </c:numRef>
          </c:yVal>
          <c:bubbleSize>
            <c:numRef>
              <c:f>Sheet1!$C$2:$C$10</c:f>
              <c:numCache>
                <c:formatCode>General</c:formatCode>
                <c:ptCount val="9"/>
                <c:pt idx="0">
                  <c:v>8309733</c:v>
                </c:pt>
                <c:pt idx="1">
                  <c:v>4380844</c:v>
                </c:pt>
                <c:pt idx="2">
                  <c:v>3039739</c:v>
                </c:pt>
                <c:pt idx="3">
                  <c:v>2907116</c:v>
                </c:pt>
                <c:pt idx="4">
                  <c:v>2906263</c:v>
                </c:pt>
                <c:pt idx="5">
                  <c:v>2675890</c:v>
                </c:pt>
                <c:pt idx="6">
                  <c:v>1450728</c:v>
                </c:pt>
                <c:pt idx="7">
                  <c:v>1418602</c:v>
                </c:pt>
                <c:pt idx="8">
                  <c:v>750527</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Clio</c:v>
                  </c:pt>
                  <c:pt idx="4">
                    <c:v>Evribeauty</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FC3F7A-D90B-4D39-85FB-45A571F65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91526C-C2A5-4513-949B-36500A17F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ED28DD-7522-450D-8B67-D1CC0E866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078CC-CC95-4133-BEB5-25B83051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03D2FA-54B4-49FE-86CB-B41CA52D0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B41300A-0A5A-424D-9C01-467CC98EF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63F484-4F9D-400E-910E-002DE370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611349-64D9-418A-A5AC-C8F37BC94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39046893832625</c:v>
                </c:pt>
                <c:pt idx="1">
                  <c:v>7.3025023705147367</c:v>
                </c:pt>
                <c:pt idx="2">
                  <c:v>14.99957077098412</c:v>
                </c:pt>
                <c:pt idx="3">
                  <c:v>1.5666284859437449</c:v>
                </c:pt>
              </c:numCache>
            </c:numRef>
          </c:xVal>
          <c:yVal>
            <c:numRef>
              <c:f>Sheet1!$B$2:$B$5</c:f>
              <c:numCache>
                <c:formatCode>General</c:formatCode>
                <c:ptCount val="4"/>
                <c:pt idx="0">
                  <c:v>0.64968114418149181</c:v>
                </c:pt>
                <c:pt idx="1">
                  <c:v>3.204704638593296</c:v>
                </c:pt>
                <c:pt idx="2">
                  <c:v>1.907699193135451</c:v>
                </c:pt>
                <c:pt idx="3">
                  <c:v>0.53244207416143163</c:v>
                </c:pt>
              </c:numCache>
            </c:numRef>
          </c:yVal>
          <c:bubbleSize>
            <c:numRef>
              <c:f>Sheet1!$C$2:$C$5</c:f>
              <c:numCache>
                <c:formatCode>General</c:formatCode>
                <c:ptCount val="4"/>
                <c:pt idx="0">
                  <c:v>15916293</c:v>
                </c:pt>
                <c:pt idx="1">
                  <c:v>13901007</c:v>
                </c:pt>
                <c:pt idx="2">
                  <c:v>4053664</c:v>
                </c:pt>
                <c:pt idx="3">
                  <c:v>3342734</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0DE322-20A3-4131-BC41-3858EBDD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FB6ED7-202B-4B4E-8CD7-402341481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5C8B4-E05F-4121-9048-A5AE6450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F483B1-1C46-4C83-B8ED-AC25F6E7B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F90523-7DB8-41D5-9DBB-C167054DC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7585C5-7331-4665-A4E2-8327D1251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F9FA3B-8496-43EF-A4E5-BA5275887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D8AAC8-E325-4E7A-BDBD-9D286F7E6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120580228033251</c:v>
                </c:pt>
                <c:pt idx="1">
                  <c:v>5.7678473377925741</c:v>
                </c:pt>
                <c:pt idx="2">
                  <c:v>3.8415414533084271</c:v>
                </c:pt>
              </c:numCache>
            </c:numRef>
          </c:xVal>
          <c:yVal>
            <c:numRef>
              <c:f>Sheet1!$B$2:$B$4</c:f>
              <c:numCache>
                <c:formatCode>General</c:formatCode>
                <c:ptCount val="3"/>
                <c:pt idx="0">
                  <c:v>1.2566716635691</c:v>
                </c:pt>
                <c:pt idx="1">
                  <c:v>0.69537618846885885</c:v>
                </c:pt>
                <c:pt idx="2">
                  <c:v>0.59482876420057318</c:v>
                </c:pt>
              </c:numCache>
            </c:numRef>
          </c:yVal>
          <c:bubbleSize>
            <c:numRef>
              <c:f>Sheet1!$C$2:$C$4</c:f>
              <c:numCache>
                <c:formatCode>General</c:formatCode>
                <c:ptCount val="3"/>
                <c:pt idx="0">
                  <c:v>70270231</c:v>
                </c:pt>
                <c:pt idx="1">
                  <c:v>21082526</c:v>
                </c:pt>
                <c:pt idx="2">
                  <c:v>731308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4B6A74-6597-4EB1-B279-C277042C7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2B6DC1-E910-4CC8-B79E-FF9CA3F7D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316947-4FCC-46F3-B322-F4C3696D5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257490-4A3E-4D37-9068-1381F8CB1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58F490-55C0-43B4-A538-51A050020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045422-A8A5-4F88-8822-B6DCE25E2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924844-67B2-4EB7-8F43-9A60CF41D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86FA48-E028-4FC3-BFF3-E3BB97C41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772616380619681</c:v>
                </c:pt>
                <c:pt idx="1">
                  <c:v>12.59280239520958</c:v>
                </c:pt>
                <c:pt idx="2">
                  <c:v>17.902029422190711</c:v>
                </c:pt>
                <c:pt idx="3">
                  <c:v>12.20425292083657</c:v>
                </c:pt>
                <c:pt idx="4">
                  <c:v>12.21563511712055</c:v>
                </c:pt>
                <c:pt idx="5">
                  <c:v>8.2307256385250014</c:v>
                </c:pt>
                <c:pt idx="6">
                  <c:v>14.15857628590031</c:v>
                </c:pt>
                <c:pt idx="7">
                  <c:v>13.608733752008179</c:v>
                </c:pt>
                <c:pt idx="8">
                  <c:v>5.8943554908620408</c:v>
                </c:pt>
              </c:numCache>
            </c:numRef>
          </c:xVal>
          <c:yVal>
            <c:numRef>
              <c:f>Sheet1!$B$2:$B$10</c:f>
              <c:numCache>
                <c:formatCode>General</c:formatCode>
                <c:ptCount val="9"/>
                <c:pt idx="0">
                  <c:v>1.1647135303945571</c:v>
                </c:pt>
                <c:pt idx="1">
                  <c:v>1.165853598616702</c:v>
                </c:pt>
                <c:pt idx="2">
                  <c:v>1.545986118199566</c:v>
                </c:pt>
                <c:pt idx="3">
                  <c:v>1.009668231134909</c:v>
                </c:pt>
                <c:pt idx="4">
                  <c:v>1.126357692546472</c:v>
                </c:pt>
                <c:pt idx="5">
                  <c:v>0.57444181235616254</c:v>
                </c:pt>
                <c:pt idx="6">
                  <c:v>0.32663279992405342</c:v>
                </c:pt>
                <c:pt idx="7">
                  <c:v>0.71918158378008756</c:v>
                </c:pt>
                <c:pt idx="8">
                  <c:v>0.55331742673352469</c:v>
                </c:pt>
              </c:numCache>
            </c:numRef>
          </c:yVal>
          <c:bubbleSize>
            <c:numRef>
              <c:f>Sheet1!$C$2:$C$10</c:f>
              <c:numCache>
                <c:formatCode>General</c:formatCode>
                <c:ptCount val="9"/>
                <c:pt idx="0">
                  <c:v>5803450</c:v>
                </c:pt>
                <c:pt idx="1">
                  <c:v>1051499</c:v>
                </c:pt>
                <c:pt idx="2">
                  <c:v>808026</c:v>
                </c:pt>
                <c:pt idx="3">
                  <c:v>801197</c:v>
                </c:pt>
                <c:pt idx="4">
                  <c:v>641443</c:v>
                </c:pt>
                <c:pt idx="5">
                  <c:v>624531</c:v>
                </c:pt>
                <c:pt idx="6">
                  <c:v>195714</c:v>
                </c:pt>
                <c:pt idx="7">
                  <c:v>186358</c:v>
                </c:pt>
                <c:pt idx="8">
                  <c:v>18222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Flamingo</c:v>
                  </c:pt>
                  <c:pt idx="4">
                    <c:v>Billie</c:v>
                  </c:pt>
                  <c:pt idx="5">
                    <c:v>Skintimate</c:v>
                  </c:pt>
                  <c:pt idx="6">
                    <c:v>Daisy</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B8AE5F-DEBC-49C0-9127-3B3371978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F98A10-48B9-4323-8720-DF40F7654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C646AE-7534-4644-B9EC-501AE3F85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E913AB-2E74-47CE-9733-3D0C594B4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F278B9-21D0-47E6-A815-4BBAB363A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A4348B-9014-435B-B7E5-E2CF4AA05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93DD8C-19B0-4278-855E-E6E2455E0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95482B-01BD-4ECB-9C32-3826F41BB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69659209208629</c:v>
                </c:pt>
                <c:pt idx="1">
                  <c:v>6.7905665466952074</c:v>
                </c:pt>
                <c:pt idx="2">
                  <c:v>5.7048745058949653</c:v>
                </c:pt>
                <c:pt idx="3">
                  <c:v>5.1239410574861033</c:v>
                </c:pt>
                <c:pt idx="4">
                  <c:v>14.98776064992578</c:v>
                </c:pt>
                <c:pt idx="5">
                  <c:v>5.9668062441762819</c:v>
                </c:pt>
              </c:numCache>
            </c:numRef>
          </c:xVal>
          <c:yVal>
            <c:numRef>
              <c:f>Sheet1!$B$2:$B$7</c:f>
              <c:numCache>
                <c:formatCode>General</c:formatCode>
                <c:ptCount val="6"/>
                <c:pt idx="0">
                  <c:v>1.6546113197813559</c:v>
                </c:pt>
                <c:pt idx="1">
                  <c:v>0.57498613853266345</c:v>
                </c:pt>
                <c:pt idx="2">
                  <c:v>0.68405425733301151</c:v>
                </c:pt>
                <c:pt idx="3">
                  <c:v>0.55740335434033561</c:v>
                </c:pt>
                <c:pt idx="4">
                  <c:v>1.4966574838440789</c:v>
                </c:pt>
                <c:pt idx="5">
                  <c:v>0.80832538487089678</c:v>
                </c:pt>
              </c:numCache>
            </c:numRef>
          </c:yVal>
          <c:bubbleSize>
            <c:numRef>
              <c:f>Sheet1!$C$2:$C$7</c:f>
              <c:numCache>
                <c:formatCode>General</c:formatCode>
                <c:ptCount val="6"/>
                <c:pt idx="0">
                  <c:v>25552213</c:v>
                </c:pt>
                <c:pt idx="1">
                  <c:v>5437519</c:v>
                </c:pt>
                <c:pt idx="2">
                  <c:v>5156676</c:v>
                </c:pt>
                <c:pt idx="3">
                  <c:v>5048614</c:v>
                </c:pt>
                <c:pt idx="4">
                  <c:v>2392781</c:v>
                </c:pt>
                <c:pt idx="5">
                  <c:v>207475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FFA2E3-1CF7-463E-91CD-4C16E03C5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4BA90D-EE18-40ED-ABCB-053C9F622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3DEDCB-66D2-4833-817A-A79CFBB79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EEB2FC-3DF2-484A-B89C-8BF52F160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6DC9A2-9D42-49E0-8256-3025EEE99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E008C5-2E97-45D3-900F-D2521D39B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BE0B6A-D5B0-4FDB-8023-878EDEAFB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7CB7CC-D497-445C-B78B-B24F0E03B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109968072914491</c:v>
                </c:pt>
                <c:pt idx="1">
                  <c:v>10.773804865617221</c:v>
                </c:pt>
                <c:pt idx="2">
                  <c:v>5.7747032679288184</c:v>
                </c:pt>
                <c:pt idx="3">
                  <c:v>12.55392766037083</c:v>
                </c:pt>
                <c:pt idx="4">
                  <c:v>10.516374411001181</c:v>
                </c:pt>
                <c:pt idx="5">
                  <c:v>7.4599949391532787</c:v>
                </c:pt>
                <c:pt idx="6">
                  <c:v>10.92764576129589</c:v>
                </c:pt>
              </c:numCache>
            </c:numRef>
          </c:xVal>
          <c:yVal>
            <c:numRef>
              <c:f>Sheet1!$B$2:$B$8</c:f>
              <c:numCache>
                <c:formatCode>General</c:formatCode>
                <c:ptCount val="7"/>
                <c:pt idx="0">
                  <c:v>1.752624364397027</c:v>
                </c:pt>
                <c:pt idx="1">
                  <c:v>0.99965268703397392</c:v>
                </c:pt>
                <c:pt idx="2">
                  <c:v>0.56049364816151992</c:v>
                </c:pt>
                <c:pt idx="3">
                  <c:v>1.4655965960678401</c:v>
                </c:pt>
                <c:pt idx="4">
                  <c:v>0.88604583330803877</c:v>
                </c:pt>
                <c:pt idx="5">
                  <c:v>0.85832293021882533</c:v>
                </c:pt>
                <c:pt idx="6">
                  <c:v>1.0217036183214081</c:v>
                </c:pt>
              </c:numCache>
            </c:numRef>
          </c:yVal>
          <c:bubbleSize>
            <c:numRef>
              <c:f>Sheet1!$C$2:$C$8</c:f>
              <c:numCache>
                <c:formatCode>General</c:formatCode>
                <c:ptCount val="7"/>
                <c:pt idx="0">
                  <c:v>45997480</c:v>
                </c:pt>
                <c:pt idx="1">
                  <c:v>27479128</c:v>
                </c:pt>
                <c:pt idx="2">
                  <c:v>26817260</c:v>
                </c:pt>
                <c:pt idx="3">
                  <c:v>21264734</c:v>
                </c:pt>
                <c:pt idx="4">
                  <c:v>20485992</c:v>
                </c:pt>
                <c:pt idx="5">
                  <c:v>17600284</c:v>
                </c:pt>
                <c:pt idx="6">
                  <c:v>480048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FBA4EB-D94F-4069-92A0-18B64878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4FBBF2-6891-492D-AECF-BDCA28622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9ECE24A-83C0-43AD-A613-D98E11131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B2A01A-C5F3-4796-851C-F5B64DA6E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7D4BFC-5C25-4043-B33E-8A84E16A9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565AF-1F74-4AA4-9F71-F92B85F9D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8E6D49-7623-4070-B6DB-0A57F9EA5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42034A-59E9-4FFF-9DA6-518B5B064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758690216953</c:v>
                </c:pt>
                <c:pt idx="1">
                  <c:v>8.9204192911535216</c:v>
                </c:pt>
              </c:numCache>
            </c:numRef>
          </c:xVal>
          <c:yVal>
            <c:numRef>
              <c:f>Sheet1!$B$2:$B$3</c:f>
              <c:numCache>
                <c:formatCode>General</c:formatCode>
                <c:ptCount val="2"/>
                <c:pt idx="0">
                  <c:v>1.0952308696383111</c:v>
                </c:pt>
                <c:pt idx="1">
                  <c:v>0.87639289418034405</c:v>
                </c:pt>
              </c:numCache>
            </c:numRef>
          </c:yVal>
          <c:bubbleSize>
            <c:numRef>
              <c:f>Sheet1!$C$2:$C$3</c:f>
              <c:numCache>
                <c:formatCode>General</c:formatCode>
                <c:ptCount val="2"/>
                <c:pt idx="0">
                  <c:v>2771392</c:v>
                </c:pt>
                <c:pt idx="1">
                  <c:v>170795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E79576-81C5-45C7-9C65-9B67277DF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0C44B6-021D-4A49-B1A4-D1030D643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9E7358-6171-4E4B-BDAF-C8860959F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3D99B00-FEAC-4735-B262-6D2CE7AF4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A4C15DB-68CB-4FA7-B0F8-A6CD4B551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6BC0A6-DB5A-4CCE-B2A2-625E596C1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34CA85-5ADB-4005-96DC-90FF01FD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2D2C38-707F-4DB0-A280-4CEAFD28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09262076348233</c:v>
                </c:pt>
                <c:pt idx="1">
                  <c:v>6.3087949822191769</c:v>
                </c:pt>
                <c:pt idx="2">
                  <c:v>15.25680763363734</c:v>
                </c:pt>
              </c:numCache>
            </c:numRef>
          </c:xVal>
          <c:yVal>
            <c:numRef>
              <c:f>Sheet1!$B$2:$B$4</c:f>
              <c:numCache>
                <c:formatCode>General</c:formatCode>
                <c:ptCount val="3"/>
                <c:pt idx="0">
                  <c:v>4.3791181268629771</c:v>
                </c:pt>
                <c:pt idx="1">
                  <c:v>0.38336637690352438</c:v>
                </c:pt>
                <c:pt idx="2">
                  <c:v>1.278000579675556</c:v>
                </c:pt>
              </c:numCache>
            </c:numRef>
          </c:yVal>
          <c:bubbleSize>
            <c:numRef>
              <c:f>Sheet1!$C$2:$C$4</c:f>
              <c:numCache>
                <c:formatCode>General</c:formatCode>
                <c:ptCount val="3"/>
                <c:pt idx="0">
                  <c:v>2946638</c:v>
                </c:pt>
                <c:pt idx="1">
                  <c:v>1546967</c:v>
                </c:pt>
                <c:pt idx="2">
                  <c:v>940155</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B898D5-7AF9-4BCB-B3CD-DA10DC8C9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3AE58F-E698-4614-85B5-C8E489880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8E4F7A6-4032-45F4-A4AD-01A5A83EB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931F6A0-C7C7-4DD7-863D-A4F9D0294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E105C5-3059-4BDD-8C5B-A6C5F714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C7B200-FA55-4F22-8B24-11239A4A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685627-2DA6-42D6-9643-6BB6DD69D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9433CF-BCB3-4548-BE0A-43E44F76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252455133282171</c:v>
                </c:pt>
                <c:pt idx="1">
                  <c:v>10.400852380010431</c:v>
                </c:pt>
              </c:numCache>
            </c:numRef>
          </c:xVal>
          <c:yVal>
            <c:numRef>
              <c:f>Sheet1!$B$2:$B$3</c:f>
              <c:numCache>
                <c:formatCode>General</c:formatCode>
                <c:ptCount val="2"/>
                <c:pt idx="0">
                  <c:v>1.1698744507633601</c:v>
                </c:pt>
                <c:pt idx="1">
                  <c:v>0.48913301757201511</c:v>
                </c:pt>
              </c:numCache>
            </c:numRef>
          </c:yVal>
          <c:bubbleSize>
            <c:numRef>
              <c:f>Sheet1!$C$2:$C$3</c:f>
              <c:numCache>
                <c:formatCode>General</c:formatCode>
                <c:ptCount val="2"/>
                <c:pt idx="0">
                  <c:v>24983920</c:v>
                </c:pt>
                <c:pt idx="1">
                  <c:v>347028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229FFF-5441-4D30-8CF8-18F777267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FF5718-5391-4F51-B700-16C29E92A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D63BD8-37F0-4595-B84F-C96B49071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CDEE08-FDCA-4149-828C-9A0033F40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65D821-740D-447A-BFD1-F6CDCAB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EECD47-3FA7-491E-8FA8-1AADE274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9355231-0B69-4482-9D33-D829904A0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DF0D84-186B-4432-985D-F13316A7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805521642852931</c:v>
                </c:pt>
                <c:pt idx="1">
                  <c:v>13.204303036551231</c:v>
                </c:pt>
                <c:pt idx="2">
                  <c:v>11.17162973850872</c:v>
                </c:pt>
                <c:pt idx="3">
                  <c:v>7.1778297474275021</c:v>
                </c:pt>
              </c:numCache>
            </c:numRef>
          </c:xVal>
          <c:yVal>
            <c:numRef>
              <c:f>Sheet1!$B$2:$B$5</c:f>
              <c:numCache>
                <c:formatCode>General</c:formatCode>
                <c:ptCount val="4"/>
                <c:pt idx="0">
                  <c:v>1.3816472039346419</c:v>
                </c:pt>
                <c:pt idx="1">
                  <c:v>0.85238743643515968</c:v>
                </c:pt>
                <c:pt idx="2">
                  <c:v>0.43904512360136949</c:v>
                </c:pt>
                <c:pt idx="3">
                  <c:v>1.114862875838317</c:v>
                </c:pt>
              </c:numCache>
            </c:numRef>
          </c:yVal>
          <c:bubbleSize>
            <c:numRef>
              <c:f>Sheet1!$C$2:$C$5</c:f>
              <c:numCache>
                <c:formatCode>General</c:formatCode>
                <c:ptCount val="4"/>
                <c:pt idx="0">
                  <c:v>3991950</c:v>
                </c:pt>
                <c:pt idx="1">
                  <c:v>1665023</c:v>
                </c:pt>
                <c:pt idx="2">
                  <c:v>615635</c:v>
                </c:pt>
                <c:pt idx="3">
                  <c:v>230193</c:v>
                </c:pt>
              </c:numCache>
            </c:numRef>
          </c:bubbleSize>
          <c:bubble3D val="0"/>
          <c:extLst>
            <c:ext xmlns:c15="http://schemas.microsoft.com/office/drawing/2012/chart" uri="{02D57815-91ED-43cb-92C2-25804820EDAC}">
              <c15:datalabelsRange>
                <c15:f>Sheet1!$E$2:$E$10</c15:f>
                <c15:dlblRangeCache>
                  <c:ptCount val="9"/>
                  <c:pt idx="0">
                    <c:v>Intuition</c:v>
                  </c:pt>
                  <c:pt idx="1">
                    <c:v>Quattro</c:v>
                  </c:pt>
                  <c:pt idx="2">
                    <c:v>Bic Soleil</c:v>
                  </c:pt>
                  <c:pt idx="3">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C6E505-E65A-445F-B3A9-C5BFAF618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551850-8C07-47E6-9C19-ED0F132E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0CB3EA-B8B9-4C65-8EF1-A583078B4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353B23-7062-4F66-A280-B2A2E7573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EE342A-3562-4275-9E5F-B115C2B7B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E016AD-37ED-4EA0-B9BE-C5E6E371E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4F4784-9E38-4EB9-B047-8D78FD2A4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9CBBD7-7379-46EA-9EEB-172278157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25768965940987</c:v>
                </c:pt>
                <c:pt idx="1">
                  <c:v>15.72930880346304</c:v>
                </c:pt>
                <c:pt idx="2">
                  <c:v>13.45347593582888</c:v>
                </c:pt>
                <c:pt idx="3">
                  <c:v>10.71121590539107</c:v>
                </c:pt>
                <c:pt idx="4">
                  <c:v>14.73448948273276</c:v>
                </c:pt>
                <c:pt idx="5">
                  <c:v>15.916283573445311</c:v>
                </c:pt>
                <c:pt idx="6">
                  <c:v>16.60619163771651</c:v>
                </c:pt>
                <c:pt idx="7">
                  <c:v>6.6010773280001507</c:v>
                </c:pt>
              </c:numCache>
            </c:numRef>
          </c:xVal>
          <c:yVal>
            <c:numRef>
              <c:f>Sheet1!$B$2:$B$9</c:f>
              <c:numCache>
                <c:formatCode>General</c:formatCode>
                <c:ptCount val="8"/>
                <c:pt idx="0">
                  <c:v>1.8898294812021901</c:v>
                </c:pt>
                <c:pt idx="1">
                  <c:v>1.300093301328815</c:v>
                </c:pt>
                <c:pt idx="2">
                  <c:v>0.5637614717281384</c:v>
                </c:pt>
                <c:pt idx="3">
                  <c:v>0.44193409358502228</c:v>
                </c:pt>
                <c:pt idx="4">
                  <c:v>1.02601589348264</c:v>
                </c:pt>
                <c:pt idx="5">
                  <c:v>0.89377616241859792</c:v>
                </c:pt>
                <c:pt idx="6">
                  <c:v>1.045771440114198</c:v>
                </c:pt>
                <c:pt idx="7">
                  <c:v>1.1044945740538159</c:v>
                </c:pt>
              </c:numCache>
            </c:numRef>
          </c:yVal>
          <c:bubbleSize>
            <c:numRef>
              <c:f>Sheet1!$C$2:$C$9</c:f>
              <c:numCache>
                <c:formatCode>General</c:formatCode>
                <c:ptCount val="8"/>
                <c:pt idx="0">
                  <c:v>19745641</c:v>
                </c:pt>
                <c:pt idx="1">
                  <c:v>7688785</c:v>
                </c:pt>
                <c:pt idx="2">
                  <c:v>5962446</c:v>
                </c:pt>
                <c:pt idx="3">
                  <c:v>5099235</c:v>
                </c:pt>
                <c:pt idx="4">
                  <c:v>2553988</c:v>
                </c:pt>
                <c:pt idx="5">
                  <c:v>1758813</c:v>
                </c:pt>
                <c:pt idx="6">
                  <c:v>1347991</c:v>
                </c:pt>
                <c:pt idx="7">
                  <c:v>69973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Billie</c:v>
                  </c:pt>
                  <c:pt idx="4">
                    <c:v>Flamingo</c:v>
                  </c:pt>
                  <c:pt idx="5">
                    <c:v>Joy</c:v>
                  </c:pt>
                  <c:pt idx="6">
                    <c:v>Intuition</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5AC05-F29A-44D3-AE3D-4F45F0C1D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6E258C-8B91-4E5D-9C41-3634C933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C4A57A3-3D9D-4E1B-9B5F-F8C569559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863805-04AB-4BC9-83BD-7086652BE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05F9E15-363E-4220-B01F-E600C7F1C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35711B-31C1-4001-B93A-CAA196D51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39D80A-EFA9-4283-9AC9-ED5D1A16A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9ED169-AF4C-44B5-92BA-95B0069F7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96968441220158</c:v>
                </c:pt>
                <c:pt idx="1">
                  <c:v>9.2311650128629186</c:v>
                </c:pt>
              </c:numCache>
            </c:numRef>
          </c:xVal>
          <c:yVal>
            <c:numRef>
              <c:f>Sheet1!$B$2:$B$3</c:f>
              <c:numCache>
                <c:formatCode>General</c:formatCode>
                <c:ptCount val="2"/>
                <c:pt idx="0">
                  <c:v>0.9696907541250297</c:v>
                </c:pt>
                <c:pt idx="1">
                  <c:v>1.1244933414703999</c:v>
                </c:pt>
              </c:numCache>
            </c:numRef>
          </c:yVal>
          <c:bubbleSize>
            <c:numRef>
              <c:f>Sheet1!$C$2:$C$3</c:f>
              <c:numCache>
                <c:formatCode>General</c:formatCode>
                <c:ptCount val="2"/>
                <c:pt idx="0">
                  <c:v>3896419</c:v>
                </c:pt>
                <c:pt idx="1">
                  <c:v>22606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1E4CC8-3154-4C00-852A-74EE8A853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70D1D7-C3CE-44EE-AB71-0D369B8D2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C3A3F7-1BC8-4A0E-9152-185033096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500631-F868-438F-8DA0-3C28EA495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ACB991-C63C-443D-A16C-AC066311E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0C62BE-7891-4811-AFC9-C26DDA198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554E0C-E7DF-4BD0-868B-73D0F292E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8A7531-ED0E-4767-9AD2-19FEF738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959896882134</c:v>
                </c:pt>
                <c:pt idx="1">
                  <c:v>5.9151261465574674</c:v>
                </c:pt>
                <c:pt idx="2">
                  <c:v>7.1250459018801413</c:v>
                </c:pt>
                <c:pt idx="3">
                  <c:v>9.676184034236508</c:v>
                </c:pt>
                <c:pt idx="4">
                  <c:v>12.49310052420598</c:v>
                </c:pt>
                <c:pt idx="5">
                  <c:v>6.5123678810212056</c:v>
                </c:pt>
                <c:pt idx="6">
                  <c:v>12.037599093997731</c:v>
                </c:pt>
                <c:pt idx="7">
                  <c:v>5.3869569270930446</c:v>
                </c:pt>
              </c:numCache>
            </c:numRef>
          </c:xVal>
          <c:yVal>
            <c:numRef>
              <c:f>Sheet1!$B$2:$B$9</c:f>
              <c:numCache>
                <c:formatCode>General</c:formatCode>
                <c:ptCount val="8"/>
                <c:pt idx="0">
                  <c:v>1.1214996901254051</c:v>
                </c:pt>
                <c:pt idx="1">
                  <c:v>0.78786780531846468</c:v>
                </c:pt>
                <c:pt idx="2">
                  <c:v>1.4095416881806631</c:v>
                </c:pt>
                <c:pt idx="3">
                  <c:v>1.3135402918516941</c:v>
                </c:pt>
                <c:pt idx="4">
                  <c:v>1.647437939802725</c:v>
                </c:pt>
                <c:pt idx="5">
                  <c:v>0.88286862947293732</c:v>
                </c:pt>
                <c:pt idx="6">
                  <c:v>1.69813109655818</c:v>
                </c:pt>
                <c:pt idx="7">
                  <c:v>0.71038366354330762</c:v>
                </c:pt>
              </c:numCache>
            </c:numRef>
          </c:yVal>
          <c:bubbleSize>
            <c:numRef>
              <c:f>Sheet1!$C$2:$C$9</c:f>
              <c:numCache>
                <c:formatCode>General</c:formatCode>
                <c:ptCount val="8"/>
                <c:pt idx="0">
                  <c:v>1950313</c:v>
                </c:pt>
                <c:pt idx="1">
                  <c:v>878970</c:v>
                </c:pt>
                <c:pt idx="2">
                  <c:v>776117</c:v>
                </c:pt>
                <c:pt idx="3">
                  <c:v>743876</c:v>
                </c:pt>
                <c:pt idx="4">
                  <c:v>324121</c:v>
                </c:pt>
                <c:pt idx="5">
                  <c:v>295134</c:v>
                </c:pt>
                <c:pt idx="6">
                  <c:v>159438</c:v>
                </c:pt>
                <c:pt idx="7">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2B0B57-8C46-4833-9F47-F4EF70D70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62590-A40C-4877-A327-1F112EADC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DFC036-2320-47E5-B221-D8CD8D1B9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58C6F1-D90A-4313-BDB3-DAA5A19C7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337B06-20B5-4B1C-B761-CEA6BD3C9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1E1030-CCEC-4A7C-93E0-92C26464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692238-CF3F-46CE-9D3B-86ED9E586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739ABE-0E2D-49E7-9EB3-2269BBC69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631196414760041</c:v>
                </c:pt>
                <c:pt idx="1">
                  <c:v>14.52859602040053</c:v>
                </c:pt>
              </c:numCache>
            </c:numRef>
          </c:xVal>
          <c:yVal>
            <c:numRef>
              <c:f>Sheet1!$B$2:$B$3</c:f>
              <c:numCache>
                <c:formatCode>General</c:formatCode>
                <c:ptCount val="2"/>
                <c:pt idx="0">
                  <c:v>1.820351433528937</c:v>
                </c:pt>
                <c:pt idx="1">
                  <c:v>0.52094796905947738</c:v>
                </c:pt>
              </c:numCache>
            </c:numRef>
          </c:yVal>
          <c:bubbleSize>
            <c:numRef>
              <c:f>Sheet1!$C$2:$C$3</c:f>
              <c:numCache>
                <c:formatCode>General</c:formatCode>
                <c:ptCount val="2"/>
                <c:pt idx="0">
                  <c:v>2667311</c:v>
                </c:pt>
                <c:pt idx="1">
                  <c:v>1358816</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308668-40C1-4971-B27B-977559FF1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F5C994-F417-4BF1-995C-CE6A98063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4BD6B2-E280-4EFF-A592-19D8D67B2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0744E-29CB-411B-BB97-5F004C4BC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BE6333-494C-415B-B49B-870B003D1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69BBF2-9FEB-4697-9F9E-A357ADCF3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55632C-6BDD-4C24-9A9D-2D16858F8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F1BF48-B516-4CE3-802D-E3DAD654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9177766712311719</c:v>
                </c:pt>
                <c:pt idx="1">
                  <c:v>3.9125021503526578</c:v>
                </c:pt>
                <c:pt idx="2">
                  <c:v>6.6313372692343737</c:v>
                </c:pt>
                <c:pt idx="3">
                  <c:v>10.767404797852709</c:v>
                </c:pt>
                <c:pt idx="4">
                  <c:v>13.39803328290469</c:v>
                </c:pt>
                <c:pt idx="5">
                  <c:v>11.496463932107501</c:v>
                </c:pt>
                <c:pt idx="6">
                  <c:v>3.8638603969628349</c:v>
                </c:pt>
                <c:pt idx="7">
                  <c:v>11.188397008287851</c:v>
                </c:pt>
                <c:pt idx="8">
                  <c:v>5.9584745762711862</c:v>
                </c:pt>
              </c:numCache>
            </c:numRef>
          </c:xVal>
          <c:yVal>
            <c:numRef>
              <c:f>Sheet1!$B$2:$B$10</c:f>
              <c:numCache>
                <c:formatCode>General</c:formatCode>
                <c:ptCount val="9"/>
                <c:pt idx="0">
                  <c:v>1.698825631271653</c:v>
                </c:pt>
                <c:pt idx="1">
                  <c:v>0.57748876803545868</c:v>
                </c:pt>
                <c:pt idx="2">
                  <c:v>1.134945054723099</c:v>
                </c:pt>
                <c:pt idx="3">
                  <c:v>2.094582890384511</c:v>
                </c:pt>
                <c:pt idx="4">
                  <c:v>2.6188395615939868</c:v>
                </c:pt>
                <c:pt idx="5">
                  <c:v>1.9291416523933209</c:v>
                </c:pt>
                <c:pt idx="6">
                  <c:v>0.18447068061389699</c:v>
                </c:pt>
                <c:pt idx="7">
                  <c:v>1.8456156806484041</c:v>
                </c:pt>
                <c:pt idx="8">
                  <c:v>1.2170168351572199</c:v>
                </c:pt>
              </c:numCache>
            </c:numRef>
          </c:yVal>
          <c:bubbleSize>
            <c:numRef>
              <c:f>Sheet1!$C$2:$C$10</c:f>
              <c:numCache>
                <c:formatCode>General</c:formatCode>
                <c:ptCount val="9"/>
                <c:pt idx="0">
                  <c:v>478017</c:v>
                </c:pt>
                <c:pt idx="1">
                  <c:v>181947</c:v>
                </c:pt>
                <c:pt idx="2">
                  <c:v>141526</c:v>
                </c:pt>
                <c:pt idx="3">
                  <c:v>128369</c:v>
                </c:pt>
                <c:pt idx="4">
                  <c:v>88561</c:v>
                </c:pt>
                <c:pt idx="5">
                  <c:v>73152</c:v>
                </c:pt>
                <c:pt idx="6">
                  <c:v>58012</c:v>
                </c:pt>
                <c:pt idx="7">
                  <c:v>55349</c:v>
                </c:pt>
                <c:pt idx="8">
                  <c:v>21093</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Hydro Silk</c:v>
                  </c:pt>
                  <c:pt idx="4">
                    <c:v>Intuition</c:v>
                  </c:pt>
                  <c:pt idx="5">
                    <c:v>Billie</c:v>
                  </c:pt>
                  <c:pt idx="6">
                    <c:v>Bic Silky Touch</c:v>
                  </c:pt>
                  <c:pt idx="7">
                    <c:v>Jo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A0D26F-C488-49F0-878B-857D23E2A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49E718-8840-4AB1-98DB-F5BB63A29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BBFDDD-72E7-4343-AECE-92547083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A6672D-2382-4A8C-B195-47BB994C9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01A307D-F112-4A9F-BAFF-B2F761F9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DE0A7B-E4FD-421D-8782-DA5A30318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919107-0C30-4402-9CC9-DC884E2A5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FEA20E-A2F5-4B21-8EBF-89B3E804D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395683397871579</c:v>
                </c:pt>
                <c:pt idx="1">
                  <c:v>10.04274814000676</c:v>
                </c:pt>
              </c:numCache>
            </c:numRef>
          </c:xVal>
          <c:yVal>
            <c:numRef>
              <c:f>Sheet1!$B$2:$B$3</c:f>
              <c:numCache>
                <c:formatCode>General</c:formatCode>
                <c:ptCount val="2"/>
                <c:pt idx="0">
                  <c:v>1.00197463794459</c:v>
                </c:pt>
                <c:pt idx="1">
                  <c:v>1.013160157497119</c:v>
                </c:pt>
              </c:numCache>
            </c:numRef>
          </c:yVal>
          <c:bubbleSize>
            <c:numRef>
              <c:f>Sheet1!$C$2:$C$3</c:f>
              <c:numCache>
                <c:formatCode>General</c:formatCode>
                <c:ptCount val="2"/>
                <c:pt idx="0">
                  <c:v>26653626</c:v>
                </c:pt>
                <c:pt idx="1">
                  <c:v>95028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66B02A-268E-4D5B-8B28-89A8BC6AE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1F9496-6376-4FD2-86B9-816C08307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B875C7-6909-4C93-93F3-5DB268952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811723-A485-45DA-8BD1-225BB4896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38ECABD-ED67-4962-8B30-46BFE051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FE9C78-8289-49C1-A93F-3C33BB55B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89E528-1043-4AEB-A0CA-516D2718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EB2C06-9D60-41EC-A041-C0D3BA230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2567735826294</c:v>
                </c:pt>
                <c:pt idx="1">
                  <c:v>8.1332885020900552</c:v>
                </c:pt>
                <c:pt idx="2">
                  <c:v>13.68039158414442</c:v>
                </c:pt>
              </c:numCache>
            </c:numRef>
          </c:xVal>
          <c:yVal>
            <c:numRef>
              <c:f>Sheet1!$B$2:$B$4</c:f>
              <c:numCache>
                <c:formatCode>General</c:formatCode>
                <c:ptCount val="3"/>
                <c:pt idx="0">
                  <c:v>1.656267763147238</c:v>
                </c:pt>
                <c:pt idx="1">
                  <c:v>0.61698225259254669</c:v>
                </c:pt>
                <c:pt idx="2">
                  <c:v>0.75670884254814752</c:v>
                </c:pt>
              </c:numCache>
            </c:numRef>
          </c:yVal>
          <c:bubbleSize>
            <c:numRef>
              <c:f>Sheet1!$C$2:$C$4</c:f>
              <c:numCache>
                <c:formatCode>General</c:formatCode>
                <c:ptCount val="3"/>
                <c:pt idx="0">
                  <c:v>8020511</c:v>
                </c:pt>
                <c:pt idx="1">
                  <c:v>4366177</c:v>
                </c:pt>
                <c:pt idx="2">
                  <c:v>145194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0AE223-B1F2-4503-9A69-2E857DD3C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91CF90-0C60-4082-AF81-2FE148C4E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58D6A7-427C-4D04-9650-4B8DAE392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6AED36-4DDC-414C-BF02-25622466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795866-A848-433C-A6AE-CE35A8867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2123E5-A0D3-4780-B454-556D0E941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9D2246-D19E-4A28-A36F-5C684722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421431-9827-4ACC-8BF2-2A45860E7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76749257535284</c:v>
                </c:pt>
                <c:pt idx="1">
                  <c:v>12.20244507138583</c:v>
                </c:pt>
                <c:pt idx="2">
                  <c:v>12.763552934662821</c:v>
                </c:pt>
                <c:pt idx="3">
                  <c:v>15.350226198342909</c:v>
                </c:pt>
              </c:numCache>
            </c:numRef>
          </c:xVal>
          <c:yVal>
            <c:numRef>
              <c:f>Sheet1!$B$2:$B$5</c:f>
              <c:numCache>
                <c:formatCode>General</c:formatCode>
                <c:ptCount val="4"/>
                <c:pt idx="0">
                  <c:v>1.298118876606523</c:v>
                </c:pt>
                <c:pt idx="1">
                  <c:v>0.75125977742935957</c:v>
                </c:pt>
                <c:pt idx="2">
                  <c:v>0.7013033968200385</c:v>
                </c:pt>
                <c:pt idx="3">
                  <c:v>1.0735976242375509</c:v>
                </c:pt>
              </c:numCache>
            </c:numRef>
          </c:yVal>
          <c:bubbleSize>
            <c:numRef>
              <c:f>Sheet1!$C$2:$C$5</c:f>
              <c:numCache>
                <c:formatCode>General</c:formatCode>
                <c:ptCount val="4"/>
                <c:pt idx="0">
                  <c:v>14829652</c:v>
                </c:pt>
                <c:pt idx="1">
                  <c:v>4995620</c:v>
                </c:pt>
                <c:pt idx="2">
                  <c:v>4887241</c:v>
                </c:pt>
                <c:pt idx="3">
                  <c:v>483176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B9CE1-EE74-4618-8266-FCEA6EB7A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138052-7FDC-4568-A736-2CB449A4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193A1E-7788-4C12-A506-25040937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1106E2-DD99-48C9-BA12-DF0B2FC09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4AD62FE-B8AC-4F35-8E12-FC10946CF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6E89063-99D9-4932-95B3-95EAAD5D1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DE8DBC-BE6D-490D-8BC3-B9D4854C0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1A5CB7-2C5E-4EA0-ACE7-3A1C21658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62882631910589</c:v>
                </c:pt>
              </c:numCache>
            </c:numRef>
          </c:xVal>
          <c:yVal>
            <c:numRef>
              <c:f>Sheet1!$B$2:$B$2</c:f>
              <c:numCache>
                <c:formatCode>General</c:formatCode>
                <c:ptCount val="1"/>
                <c:pt idx="0">
                  <c:v>1.4628191104774471</c:v>
                </c:pt>
              </c:numCache>
            </c:numRef>
          </c:yVal>
          <c:bubbleSize>
            <c:numRef>
              <c:f>Sheet1!$C$2:$C$2</c:f>
              <c:numCache>
                <c:formatCode>General</c:formatCode>
                <c:ptCount val="1"/>
                <c:pt idx="0">
                  <c:v>77278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D3579D-A21D-4C5F-8E1F-755067DF7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A0FDF4-38BE-4266-9A80-0BCC7303B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A8EBEE-EE5F-49DD-8C62-07CED698F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7A83A4-5031-4F1F-92B1-8E0D9D7DF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8F6842-A5DE-4665-B072-12E83E050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D7225C-8290-4DCA-9C18-615CB5B6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AE6E24-8978-41DE-A5B7-EC28169D5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CFA3CB-8A23-4902-A3FE-2FF5A8A89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758935021155102</c:v>
                </c:pt>
                <c:pt idx="1">
                  <c:v>5.2133906078418706</c:v>
                </c:pt>
                <c:pt idx="2">
                  <c:v>5.3926525301864832</c:v>
                </c:pt>
                <c:pt idx="3">
                  <c:v>2.847770331065683</c:v>
                </c:pt>
                <c:pt idx="4">
                  <c:v>6.0071597770139098</c:v>
                </c:pt>
                <c:pt idx="5">
                  <c:v>2.952543880658296</c:v>
                </c:pt>
                <c:pt idx="6">
                  <c:v>4.9874461613831684</c:v>
                </c:pt>
                <c:pt idx="7">
                  <c:v>10.964288758203359</c:v>
                </c:pt>
              </c:numCache>
            </c:numRef>
          </c:xVal>
          <c:yVal>
            <c:numRef>
              <c:f>Sheet1!$B$2:$B$9</c:f>
              <c:numCache>
                <c:formatCode>General</c:formatCode>
                <c:ptCount val="8"/>
                <c:pt idx="0">
                  <c:v>1.278895945874049</c:v>
                </c:pt>
                <c:pt idx="1">
                  <c:v>0.68871929848996671</c:v>
                </c:pt>
                <c:pt idx="2">
                  <c:v>1.186976683131695</c:v>
                </c:pt>
                <c:pt idx="3">
                  <c:v>0.63705869358943101</c:v>
                </c:pt>
                <c:pt idx="4">
                  <c:v>1.9839439625644151</c:v>
                </c:pt>
                <c:pt idx="5">
                  <c:v>0.97509922285468187</c:v>
                </c:pt>
                <c:pt idx="6">
                  <c:v>1.0978692958625631</c:v>
                </c:pt>
                <c:pt idx="7">
                  <c:v>2.412586472269481</c:v>
                </c:pt>
              </c:numCache>
            </c:numRef>
          </c:yVal>
          <c:bubbleSize>
            <c:numRef>
              <c:f>Sheet1!$C$2:$C$9</c:f>
              <c:numCache>
                <c:formatCode>General</c:formatCode>
                <c:ptCount val="8"/>
                <c:pt idx="0">
                  <c:v>1013981</c:v>
                </c:pt>
                <c:pt idx="1">
                  <c:v>484251</c:v>
                </c:pt>
                <c:pt idx="2">
                  <c:v>472515</c:v>
                </c:pt>
                <c:pt idx="3">
                  <c:v>338654</c:v>
                </c:pt>
                <c:pt idx="4">
                  <c:v>337284</c:v>
                </c:pt>
                <c:pt idx="5">
                  <c:v>258882</c:v>
                </c:pt>
                <c:pt idx="6">
                  <c:v>244330</c:v>
                </c:pt>
                <c:pt idx="7">
                  <c:v>1286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m Pl</c:v>
                  </c:pt>
                  <c:pt idx="4">
                    <c:v>Revlon</c:v>
                  </c:pt>
                  <c:pt idx="5">
                    <c:v>Universal Prods Mktg</c:v>
                  </c:pt>
                  <c:pt idx="6">
                    <c:v>Clio</c:v>
                  </c:pt>
                  <c:pt idx="7">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634A2E-27A7-44CA-B395-BFC54530D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470554-7806-49BF-B163-F77FF326A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9F289F-6685-4969-B167-099444E19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ED042-C837-43DF-A92B-651966962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E7B05B-2713-4123-97EA-AC8A546A0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F232A6-8387-4F1D-97C4-DCA31A1F3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5B508A-39B2-4D1F-8B2C-73BAB42CB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B9DF8B-1619-4853-BAED-A6F71089C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910312432622818</c:v>
                </c:pt>
                <c:pt idx="1">
                  <c:v>6.3740662320147026</c:v>
                </c:pt>
                <c:pt idx="2">
                  <c:v>15.065437827618799</c:v>
                </c:pt>
                <c:pt idx="3">
                  <c:v>1.6581327733807141</c:v>
                </c:pt>
              </c:numCache>
            </c:numRef>
          </c:xVal>
          <c:yVal>
            <c:numRef>
              <c:f>Sheet1!$B$2:$B$5</c:f>
              <c:numCache>
                <c:formatCode>General</c:formatCode>
                <c:ptCount val="4"/>
                <c:pt idx="0">
                  <c:v>0.67842503192907777</c:v>
                </c:pt>
                <c:pt idx="1">
                  <c:v>2.7855611589233371</c:v>
                </c:pt>
                <c:pt idx="2">
                  <c:v>1.9895618874012571</c:v>
                </c:pt>
                <c:pt idx="3">
                  <c:v>0.56548743005711111</c:v>
                </c:pt>
              </c:numCache>
            </c:numRef>
          </c:yVal>
          <c:bubbleSize>
            <c:numRef>
              <c:f>Sheet1!$C$2:$C$5</c:f>
              <c:numCache>
                <c:formatCode>General</c:formatCode>
                <c:ptCount val="4"/>
                <c:pt idx="0">
                  <c:v>2364140</c:v>
                </c:pt>
                <c:pt idx="1">
                  <c:v>1824296</c:v>
                </c:pt>
                <c:pt idx="2">
                  <c:v>701266</c:v>
                </c:pt>
                <c:pt idx="3">
                  <c:v>533806</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4BE070-CEB3-4FCF-9498-BD332D486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D23F49-4B5E-4162-A3A4-15A7F9F42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7A78A1-E7B9-4D68-8BDE-DD78C2AEC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6C1022-EE12-4DF9-A11D-F1ADFCE91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C28CBF-B26B-4DF9-8BB0-4DEE8861A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6D5250-6D5B-4315-8BA8-FD19A334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D5822F-FF05-4123-A090-261943099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5AE592-5078-4431-9416-9DC495F8A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3835708695098194</c:v>
                </c:pt>
                <c:pt idx="1">
                  <c:v>5.8925940038019817</c:v>
                </c:pt>
                <c:pt idx="2">
                  <c:v>3.8754339566706451</c:v>
                </c:pt>
              </c:numCache>
            </c:numRef>
          </c:xVal>
          <c:yVal>
            <c:numRef>
              <c:f>Sheet1!$B$2:$B$4</c:f>
              <c:numCache>
                <c:formatCode>General</c:formatCode>
                <c:ptCount val="3"/>
                <c:pt idx="0">
                  <c:v>1.2310932888703141</c:v>
                </c:pt>
                <c:pt idx="1">
                  <c:v>0.70304283144243718</c:v>
                </c:pt>
                <c:pt idx="2">
                  <c:v>0.60702942042522112</c:v>
                </c:pt>
              </c:numCache>
            </c:numRef>
          </c:yVal>
          <c:bubbleSize>
            <c:numRef>
              <c:f>Sheet1!$C$2:$C$4</c:f>
              <c:numCache>
                <c:formatCode>General</c:formatCode>
                <c:ptCount val="3"/>
                <c:pt idx="0">
                  <c:v>10132870</c:v>
                </c:pt>
                <c:pt idx="1">
                  <c:v>2845569</c:v>
                </c:pt>
                <c:pt idx="2">
                  <c:v>99351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14CFF0-BD72-4611-8004-4838E95D1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D14186-DB8E-4B59-8154-266A188C4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A860FB-BBBB-4E28-BD55-ED1743F5A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344F72-A328-4257-A373-E1C7CF6A5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085F22-679F-40E4-92F8-9946D0343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D1AF8C-C213-45DF-BF46-4DBA6E86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F84DF5-AF74-4A55-A9C9-13B386D1A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403188-A38B-4F48-A5BA-9BD823F35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81537043524682</c:v>
                </c:pt>
                <c:pt idx="1">
                  <c:v>6.805960615407078</c:v>
                </c:pt>
                <c:pt idx="2">
                  <c:v>5.7426363345309666</c:v>
                </c:pt>
                <c:pt idx="3">
                  <c:v>5.1939941557699516</c:v>
                </c:pt>
                <c:pt idx="4">
                  <c:v>5.886193396546652</c:v>
                </c:pt>
                <c:pt idx="5">
                  <c:v>15.127941071300871</c:v>
                </c:pt>
              </c:numCache>
            </c:numRef>
          </c:xVal>
          <c:yVal>
            <c:numRef>
              <c:f>Sheet1!$B$2:$B$7</c:f>
              <c:numCache>
                <c:formatCode>General</c:formatCode>
                <c:ptCount val="6"/>
                <c:pt idx="0">
                  <c:v>1.676633700792195</c:v>
                </c:pt>
                <c:pt idx="1">
                  <c:v>0.59360093120171087</c:v>
                </c:pt>
                <c:pt idx="2">
                  <c:v>0.70198720835798112</c:v>
                </c:pt>
                <c:pt idx="3">
                  <c:v>0.5737602245344674</c:v>
                </c:pt>
                <c:pt idx="4">
                  <c:v>0.82325088525585965</c:v>
                </c:pt>
                <c:pt idx="5">
                  <c:v>1.533063167170404</c:v>
                </c:pt>
              </c:numCache>
            </c:numRef>
          </c:yVal>
          <c:bubbleSize>
            <c:numRef>
              <c:f>Sheet1!$C$2:$C$7</c:f>
              <c:numCache>
                <c:formatCode>General</c:formatCode>
                <c:ptCount val="6"/>
                <c:pt idx="0">
                  <c:v>3072767</c:v>
                </c:pt>
                <c:pt idx="1">
                  <c:v>745838</c:v>
                </c:pt>
                <c:pt idx="2">
                  <c:v>645725</c:v>
                </c:pt>
                <c:pt idx="3">
                  <c:v>636337</c:v>
                </c:pt>
                <c:pt idx="4">
                  <c:v>260105</c:v>
                </c:pt>
                <c:pt idx="5">
                  <c:v>21153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Bic Easyrinse</c:v>
                  </c:pt>
                  <c:pt idx="5">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9171B7-B7CD-473F-95B8-D3FCCBFB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50F4F0-A795-4BFB-9280-82BA905E6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189198-CDE2-412A-BBA2-83BF5B761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CC50F4-3E9B-4627-9622-2A667BA3F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57DACC-DCCD-49CF-910B-3E9DB0399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14CDB5-A4DA-4BE8-9A9F-346B15558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E0D1C5-D926-4525-B8F2-BE14724B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65C0FE-816B-47D8-B469-D2BF4E4D6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659926944238141</c:v>
                </c:pt>
                <c:pt idx="1">
                  <c:v>5.51709735348647</c:v>
                </c:pt>
                <c:pt idx="2">
                  <c:v>12.664127192834041</c:v>
                </c:pt>
                <c:pt idx="3">
                  <c:v>10.766147962150219</c:v>
                </c:pt>
                <c:pt idx="4">
                  <c:v>7.4987167721264232</c:v>
                </c:pt>
                <c:pt idx="5">
                  <c:v>10.60268512454552</c:v>
                </c:pt>
                <c:pt idx="6">
                  <c:v>11.02617712051674</c:v>
                </c:pt>
              </c:numCache>
            </c:numRef>
          </c:xVal>
          <c:yVal>
            <c:numRef>
              <c:f>Sheet1!$B$2:$B$8</c:f>
              <c:numCache>
                <c:formatCode>General</c:formatCode>
                <c:ptCount val="7"/>
                <c:pt idx="0">
                  <c:v>1.714840068726508</c:v>
                </c:pt>
                <c:pt idx="1">
                  <c:v>0.56817089116742581</c:v>
                </c:pt>
                <c:pt idx="2">
                  <c:v>1.5076696770478899</c:v>
                </c:pt>
                <c:pt idx="3">
                  <c:v>1.013834552515458</c:v>
                </c:pt>
                <c:pt idx="4">
                  <c:v>0.86617798848514982</c:v>
                </c:pt>
                <c:pt idx="5">
                  <c:v>0.90304847217124484</c:v>
                </c:pt>
                <c:pt idx="6">
                  <c:v>1.0052372124995561</c:v>
                </c:pt>
              </c:numCache>
            </c:numRef>
          </c:yVal>
          <c:bubbleSize>
            <c:numRef>
              <c:f>Sheet1!$C$2:$C$8</c:f>
              <c:numCache>
                <c:formatCode>General</c:formatCode>
                <c:ptCount val="7"/>
                <c:pt idx="0">
                  <c:v>5407446</c:v>
                </c:pt>
                <c:pt idx="1">
                  <c:v>3413224</c:v>
                </c:pt>
                <c:pt idx="2">
                  <c:v>2619790</c:v>
                </c:pt>
                <c:pt idx="3">
                  <c:v>2499695</c:v>
                </c:pt>
                <c:pt idx="4">
                  <c:v>2328689</c:v>
                </c:pt>
                <c:pt idx="5">
                  <c:v>1877990</c:v>
                </c:pt>
                <c:pt idx="6">
                  <c:v>38920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llie</c:v>
                  </c:pt>
                  <c:pt idx="4">
                    <c:v>Bic Soleil</c:v>
                  </c:pt>
                  <c:pt idx="5">
                    <c:v>Joy</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A706D2-FF7A-40C1-9BD8-887C9487A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9C2942-CB9D-4D09-A6C0-D1FEACE2D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0533EC3-F4AA-4781-934D-02E017AD8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554A31-A8DB-4231-9A9A-A015DD3B5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A73CAD-7F79-4082-AFC5-B06E185E4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A83F3A-CDCC-4197-ABEE-64EB3313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3197BD-EFB3-4AD8-B1DC-5C733859D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84BDFD-2FD3-428C-BEFC-6AFBBF293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9.1157824491157822</c:v>
                </c:pt>
                <c:pt idx="1">
                  <c:v>13.23033443240697</c:v>
                </c:pt>
              </c:numCache>
            </c:numRef>
          </c:xVal>
          <c:yVal>
            <c:numRef>
              <c:f>Sheet1!$B$2:$B$3</c:f>
              <c:numCache>
                <c:formatCode>General</c:formatCode>
                <c:ptCount val="2"/>
                <c:pt idx="0">
                  <c:v>0.97375244938049521</c:v>
                </c:pt>
                <c:pt idx="1">
                  <c:v>1.1171588255610341</c:v>
                </c:pt>
              </c:numCache>
            </c:numRef>
          </c:yVal>
          <c:bubbleSize>
            <c:numRef>
              <c:f>Sheet1!$C$2:$C$3</c:f>
              <c:numCache>
                <c:formatCode>General</c:formatCode>
                <c:ptCount val="2"/>
                <c:pt idx="0">
                  <c:v>218560</c:v>
                </c:pt>
                <c:pt idx="1">
                  <c:v>56176</c:v>
                </c:pt>
              </c:numCache>
            </c:numRef>
          </c:bubbleSize>
          <c:bubble3D val="0"/>
          <c:extLst>
            <c:ext xmlns:c15="http://schemas.microsoft.com/office/drawing/2012/chart" uri="{02D57815-91ED-43cb-92C2-25804820EDAC}">
              <c15:datalabelsRange>
                <c15:f>Sheet1!$E$2:$E$10</c15:f>
                <c15:dlblRangeCache>
                  <c:ptCount val="9"/>
                  <c:pt idx="0">
                    <c:v>Intuition</c:v>
                  </c:pt>
                  <c:pt idx="1">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19ABD0-D112-4D7A-A07C-8C4DAEA38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D821E2-591E-4583-8AAE-CC520FCB9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759A97-4557-4442-895C-66E60F8F9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AAE479-9BFF-4B3C-A524-0FC4D0D8D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FCBF84-5D40-4542-AF80-70D6CDABB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9F41D3-D217-4719-A3BA-7AA7AF369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9496FE-7C8B-4845-AE75-6476E4171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F5F4A5-A46B-4366-8299-C8C5D7E37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689692910831752</c:v>
                </c:pt>
                <c:pt idx="1">
                  <c:v>6.4022706476429319</c:v>
                </c:pt>
                <c:pt idx="2">
                  <c:v>4.4198006519093802</c:v>
                </c:pt>
                <c:pt idx="3">
                  <c:v>12.65029873279132</c:v>
                </c:pt>
                <c:pt idx="4">
                  <c:v>10.33746498519807</c:v>
                </c:pt>
                <c:pt idx="5">
                  <c:v>10.80020063929609</c:v>
                </c:pt>
                <c:pt idx="6">
                  <c:v>10.58463475324367</c:v>
                </c:pt>
                <c:pt idx="7">
                  <c:v>3.8854608595689619</c:v>
                </c:pt>
                <c:pt idx="8">
                  <c:v>6.8493345947650583</c:v>
                </c:pt>
              </c:numCache>
            </c:numRef>
          </c:xVal>
          <c:yVal>
            <c:numRef>
              <c:f>Sheet1!$B$2:$B$10</c:f>
              <c:numCache>
                <c:formatCode>General</c:formatCode>
                <c:ptCount val="9"/>
                <c:pt idx="0">
                  <c:v>1.6446890692637159</c:v>
                </c:pt>
                <c:pt idx="1">
                  <c:v>1.0226915182430689</c:v>
                </c:pt>
                <c:pt idx="2">
                  <c:v>0.63106980484973718</c:v>
                </c:pt>
                <c:pt idx="3">
                  <c:v>2.4333294796055762</c:v>
                </c:pt>
                <c:pt idx="4">
                  <c:v>1.993705706364532</c:v>
                </c:pt>
                <c:pt idx="5">
                  <c:v>1.814546411228628</c:v>
                </c:pt>
                <c:pt idx="6">
                  <c:v>1.612452720556296</c:v>
                </c:pt>
                <c:pt idx="7">
                  <c:v>0.17040507909217281</c:v>
                </c:pt>
                <c:pt idx="8">
                  <c:v>0.87141726581064793</c:v>
                </c:pt>
              </c:numCache>
            </c:numRef>
          </c:yVal>
          <c:bubbleSize>
            <c:numRef>
              <c:f>Sheet1!$C$2:$C$10</c:f>
              <c:numCache>
                <c:formatCode>General</c:formatCode>
                <c:ptCount val="9"/>
                <c:pt idx="0">
                  <c:v>26439551</c:v>
                </c:pt>
                <c:pt idx="1">
                  <c:v>8501031</c:v>
                </c:pt>
                <c:pt idx="2">
                  <c:v>7867254</c:v>
                </c:pt>
                <c:pt idx="3">
                  <c:v>5915811</c:v>
                </c:pt>
                <c:pt idx="4">
                  <c:v>5454398</c:v>
                </c:pt>
                <c:pt idx="5">
                  <c:v>5027623</c:v>
                </c:pt>
                <c:pt idx="6">
                  <c:v>3573161</c:v>
                </c:pt>
                <c:pt idx="7">
                  <c:v>3068974</c:v>
                </c:pt>
                <c:pt idx="8">
                  <c:v>108596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Intuition</c:v>
                  </c:pt>
                  <c:pt idx="4">
                    <c:v>Hydro Silk</c:v>
                  </c:pt>
                  <c:pt idx="5">
                    <c:v>Billie</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4CD6D0-DDAD-427D-9227-A41718FFA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FFC0C6-091C-4B7C-B642-FD1322756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3E1C83-E6DD-4C7C-AD71-099BCBC55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D7CEC6-935C-4738-8350-8DB8F3EE3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193DB8-CEF7-41F0-9FDF-6899341AB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B65763-060D-4EF9-B6E2-91B67D11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598AA0-1F1A-49DA-A4DF-876F7AADC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901B98-0645-4C13-9E6F-FC410E4D6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5251698855507856</c:v>
                </c:pt>
                <c:pt idx="1">
                  <c:v>4.9491083951111996</c:v>
                </c:pt>
                <c:pt idx="2">
                  <c:v>5.1512060063355856</c:v>
                </c:pt>
                <c:pt idx="3">
                  <c:v>5.977150537634409</c:v>
                </c:pt>
                <c:pt idx="4">
                  <c:v>2.675367583463069</c:v>
                </c:pt>
                <c:pt idx="5">
                  <c:v>4.9243493067380202</c:v>
                </c:pt>
              </c:numCache>
            </c:numRef>
          </c:xVal>
          <c:yVal>
            <c:numRef>
              <c:f>Sheet1!$B$2:$B$7</c:f>
              <c:numCache>
                <c:formatCode>General</c:formatCode>
                <c:ptCount val="6"/>
                <c:pt idx="0">
                  <c:v>1.3107911335246629</c:v>
                </c:pt>
                <c:pt idx="1">
                  <c:v>0.68623815557777212</c:v>
                </c:pt>
                <c:pt idx="2">
                  <c:v>1.190216287293383</c:v>
                </c:pt>
                <c:pt idx="3">
                  <c:v>2.0718758067098979</c:v>
                </c:pt>
                <c:pt idx="4">
                  <c:v>0.6186385488726871</c:v>
                </c:pt>
                <c:pt idx="5">
                  <c:v>1.1363140183855269</c:v>
                </c:pt>
              </c:numCache>
            </c:numRef>
          </c:yVal>
          <c:bubbleSize>
            <c:numRef>
              <c:f>Sheet1!$C$2:$C$7</c:f>
              <c:numCache>
                <c:formatCode>General</c:formatCode>
                <c:ptCount val="6"/>
                <c:pt idx="0">
                  <c:v>437865</c:v>
                </c:pt>
                <c:pt idx="1">
                  <c:v>321113</c:v>
                </c:pt>
                <c:pt idx="2">
                  <c:v>206517</c:v>
                </c:pt>
                <c:pt idx="3">
                  <c:v>195668</c:v>
                </c:pt>
                <c:pt idx="4">
                  <c:v>154663</c:v>
                </c:pt>
                <c:pt idx="5">
                  <c:v>202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vlon</c:v>
                  </c:pt>
                  <c:pt idx="4">
                    <c:v>Rem Pl</c:v>
                  </c:pt>
                  <c:pt idx="5">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6A178E-B1EA-4D30-B966-50CEF953D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788B29-FFE6-4FA4-B3AC-64BDF55EB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804E43-451C-45EF-B0A5-193DA166F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E6DB1A-AAA0-464B-96A3-C2172B674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03B6E9B-F886-40A0-8432-E5C05B371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CC7404-162E-42B9-A280-418881B5C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9FD8E2-179A-40CA-A5DA-0EC83E74B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F36488-49B8-42E8-8369-90A180412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681644915483411</c:v>
                </c:pt>
                <c:pt idx="1">
                  <c:v>6.6079637423114272</c:v>
                </c:pt>
                <c:pt idx="2">
                  <c:v>1.489348832473933</c:v>
                </c:pt>
                <c:pt idx="3">
                  <c:v>14.99726603575184</c:v>
                </c:pt>
              </c:numCache>
            </c:numRef>
          </c:xVal>
          <c:yVal>
            <c:numRef>
              <c:f>Sheet1!$B$2:$B$5</c:f>
              <c:numCache>
                <c:formatCode>General</c:formatCode>
                <c:ptCount val="4"/>
                <c:pt idx="0">
                  <c:v>0.71166945290599726</c:v>
                </c:pt>
                <c:pt idx="1">
                  <c:v>2.9891042146820439</c:v>
                </c:pt>
                <c:pt idx="2">
                  <c:v>0.57304131968940464</c:v>
                </c:pt>
                <c:pt idx="3">
                  <c:v>2.0795324808333611</c:v>
                </c:pt>
              </c:numCache>
            </c:numRef>
          </c:yVal>
          <c:bubbleSize>
            <c:numRef>
              <c:f>Sheet1!$C$2:$C$5</c:f>
              <c:numCache>
                <c:formatCode>General</c:formatCode>
                <c:ptCount val="4"/>
                <c:pt idx="0">
                  <c:v>990210</c:v>
                </c:pt>
                <c:pt idx="1">
                  <c:v>714420</c:v>
                </c:pt>
                <c:pt idx="2">
                  <c:v>248687</c:v>
                </c:pt>
                <c:pt idx="3">
                  <c:v>213936</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5E6E64-D02A-4191-95BF-B9EA440DF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BE4742-DBC6-49EC-AD7C-FF7379670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6E24DA-D773-4F7C-A890-EC2B9B575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3C62923-7185-43D6-957B-07F067052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555B57-6AA3-418D-A5A7-20E2943BF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398464-03F6-41CE-87AF-0AA1EC323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A06820-67C9-498B-89CB-321BD3F7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52E45E-AA71-4C98-8FBF-4A826ABB8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3927260987665324</c:v>
                </c:pt>
                <c:pt idx="1">
                  <c:v>5.5099865023422403</c:v>
                </c:pt>
                <c:pt idx="2">
                  <c:v>3.6782100979556391</c:v>
                </c:pt>
              </c:numCache>
            </c:numRef>
          </c:xVal>
          <c:yVal>
            <c:numRef>
              <c:f>Sheet1!$B$2:$B$4</c:f>
              <c:numCache>
                <c:formatCode>General</c:formatCode>
                <c:ptCount val="3"/>
                <c:pt idx="0">
                  <c:v>1.2612393746640129</c:v>
                </c:pt>
                <c:pt idx="1">
                  <c:v>0.69796223478701391</c:v>
                </c:pt>
                <c:pt idx="2">
                  <c:v>0.49152768610658509</c:v>
                </c:pt>
              </c:numCache>
            </c:numRef>
          </c:yVal>
          <c:bubbleSize>
            <c:numRef>
              <c:f>Sheet1!$C$2:$C$4</c:f>
              <c:numCache>
                <c:formatCode>General</c:formatCode>
                <c:ptCount val="3"/>
                <c:pt idx="0">
                  <c:v>3769509</c:v>
                </c:pt>
                <c:pt idx="1">
                  <c:v>1249147</c:v>
                </c:pt>
                <c:pt idx="2">
                  <c:v>22867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E9FAED-3455-4F32-B34D-EBF5A3649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D98C07-BFF1-4268-8A13-7DF3C73F5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38887E-DED2-44A1-831C-8B748C710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1F0F8C-5206-4412-B2C0-1BA9B0F30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F5F026-2D6C-427B-B3B4-281B3B4A3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0E30A9-D4FB-468B-B300-4E976AEB6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86E60C9-1B7B-48FA-A270-60B146E07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6B84E7-8412-4886-837A-C1546BCAB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07121238383491</c:v>
                </c:pt>
                <c:pt idx="1">
                  <c:v>5.5931943974799339</c:v>
                </c:pt>
                <c:pt idx="2">
                  <c:v>6.2022687330244448</c:v>
                </c:pt>
                <c:pt idx="3">
                  <c:v>4.3602202339986231</c:v>
                </c:pt>
                <c:pt idx="4">
                  <c:v>5.4117614608043247</c:v>
                </c:pt>
                <c:pt idx="5">
                  <c:v>14.840331164991129</c:v>
                </c:pt>
              </c:numCache>
            </c:numRef>
          </c:xVal>
          <c:yVal>
            <c:numRef>
              <c:f>Sheet1!$B$2:$B$7</c:f>
              <c:numCache>
                <c:formatCode>General</c:formatCode>
                <c:ptCount val="6"/>
                <c:pt idx="0">
                  <c:v>1.7915112845564809</c:v>
                </c:pt>
                <c:pt idx="1">
                  <c:v>0.74833015875518583</c:v>
                </c:pt>
                <c:pt idx="2">
                  <c:v>0.62925004254074224</c:v>
                </c:pt>
                <c:pt idx="3">
                  <c:v>0.64395679031348096</c:v>
                </c:pt>
                <c:pt idx="4">
                  <c:v>0.91830114150379794</c:v>
                </c:pt>
                <c:pt idx="5">
                  <c:v>1.6428688865320999</c:v>
                </c:pt>
              </c:numCache>
            </c:numRef>
          </c:yVal>
          <c:bubbleSize>
            <c:numRef>
              <c:f>Sheet1!$C$2:$C$7</c:f>
              <c:numCache>
                <c:formatCode>General</c:formatCode>
                <c:ptCount val="6"/>
                <c:pt idx="0">
                  <c:v>968047</c:v>
                </c:pt>
                <c:pt idx="1">
                  <c:v>314276</c:v>
                </c:pt>
                <c:pt idx="2">
                  <c:v>310560</c:v>
                </c:pt>
                <c:pt idx="3">
                  <c:v>253416</c:v>
                </c:pt>
                <c:pt idx="4">
                  <c:v>98099</c:v>
                </c:pt>
                <c:pt idx="5">
                  <c:v>25095</c:v>
                </c:pt>
              </c:numCache>
            </c:numRef>
          </c:bubbleSize>
          <c:bubble3D val="0"/>
          <c:extLst>
            <c:ext xmlns:c15="http://schemas.microsoft.com/office/drawing/2012/chart" uri="{02D57815-91ED-43cb-92C2-25804820EDAC}">
              <c15:datalabelsRange>
                <c15:f>Sheet1!$E$2:$E$10</c15:f>
                <c15:dlblRangeCache>
                  <c:ptCount val="9"/>
                  <c:pt idx="0">
                    <c:v>Intuition</c:v>
                  </c:pt>
                  <c:pt idx="1">
                    <c:v>Bic Soleil</c:v>
                  </c:pt>
                  <c:pt idx="2">
                    <c:v>Skintimate</c:v>
                  </c:pt>
                  <c:pt idx="3">
                    <c:v>Pbg Pl</c:v>
                  </c:pt>
                  <c:pt idx="4">
                    <c:v>Bic Easyrinse</c:v>
                  </c:pt>
                  <c:pt idx="5">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CF9721-52D4-430A-82DA-4C0F08FF5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FA6F8F-23BB-45AF-8073-35EFD8F41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1EAB21-7CCC-489D-B381-6CB8ED7C0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A313E9-7B2C-4F80-8A0C-86D365EE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4DF12C-87C7-47E4-B900-0509E75B9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EB3524-FF72-4BFF-B86F-A8BABE2DC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2E6C66-D93E-457F-86DC-273BEA9D5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A42B4B-287E-41C3-86AD-322986938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55197579912643</c:v>
                </c:pt>
                <c:pt idx="1">
                  <c:v>5.1952005557081238</c:v>
                </c:pt>
                <c:pt idx="2">
                  <c:v>10.3876235079656</c:v>
                </c:pt>
                <c:pt idx="3">
                  <c:v>12.20775684256877</c:v>
                </c:pt>
                <c:pt idx="4">
                  <c:v>10.11692985577055</c:v>
                </c:pt>
                <c:pt idx="5">
                  <c:v>6.9007422156072273</c:v>
                </c:pt>
              </c:numCache>
            </c:numRef>
          </c:xVal>
          <c:yVal>
            <c:numRef>
              <c:f>Sheet1!$B$2:$B$7</c:f>
              <c:numCache>
                <c:formatCode>General</c:formatCode>
                <c:ptCount val="6"/>
                <c:pt idx="0">
                  <c:v>1.596226863648138</c:v>
                </c:pt>
                <c:pt idx="1">
                  <c:v>0.60058701389372449</c:v>
                </c:pt>
                <c:pt idx="2">
                  <c:v>0.99293605738958235</c:v>
                </c:pt>
                <c:pt idx="3">
                  <c:v>1.5289438676420539</c:v>
                </c:pt>
                <c:pt idx="4">
                  <c:v>0.87350749798761085</c:v>
                </c:pt>
                <c:pt idx="5">
                  <c:v>1.017786191504755</c:v>
                </c:pt>
              </c:numCache>
            </c:numRef>
          </c:yVal>
          <c:bubbleSize>
            <c:numRef>
              <c:f>Sheet1!$C$2:$C$7</c:f>
              <c:numCache>
                <c:formatCode>General</c:formatCode>
                <c:ptCount val="6"/>
                <c:pt idx="0">
                  <c:v>1589168</c:v>
                </c:pt>
                <c:pt idx="1">
                  <c:v>1286394</c:v>
                </c:pt>
                <c:pt idx="2">
                  <c:v>1071286</c:v>
                </c:pt>
                <c:pt idx="3">
                  <c:v>1053505</c:v>
                </c:pt>
                <c:pt idx="4">
                  <c:v>739325</c:v>
                </c:pt>
                <c:pt idx="5">
                  <c:v>700101</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Hydro Silk</c:v>
                  </c:pt>
                  <c:pt idx="4">
                    <c:v>Joy</c:v>
                  </c:pt>
                  <c:pt idx="5">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1CABE7-A001-4110-8570-D6E828F2B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24A9E8-C1E8-45A5-8CD3-21F559B3A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69CB926-3A71-42EF-9BF4-FDC5DAB43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D791E0-32B2-4D71-BC19-737380745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97F04C5-4C42-4A09-8B43-FFC21EDA2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52E4BA-0338-4D6D-B300-9FD3DE77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40D5C2-ED73-4AC5-98AB-7BBF9A72F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77F52A-5697-403C-AA69-EB5A2A584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7.7800548652573829</c:v>
                </c:pt>
                <c:pt idx="1">
                  <c:v>10.018750000000001</c:v>
                </c:pt>
              </c:numCache>
            </c:numRef>
          </c:xVal>
          <c:yVal>
            <c:numRef>
              <c:f>Sheet1!$B$2:$B$3</c:f>
              <c:numCache>
                <c:formatCode>General</c:formatCode>
                <c:ptCount val="2"/>
                <c:pt idx="0">
                  <c:v>0.98657717827401348</c:v>
                </c:pt>
                <c:pt idx="1">
                  <c:v>1.72782022296607</c:v>
                </c:pt>
              </c:numCache>
            </c:numRef>
          </c:yVal>
          <c:bubbleSize>
            <c:numRef>
              <c:f>Sheet1!$C$2:$C$3</c:f>
              <c:numCache>
                <c:formatCode>General</c:formatCode>
                <c:ptCount val="2"/>
                <c:pt idx="0">
                  <c:v>48213</c:v>
                </c:pt>
                <c:pt idx="1">
                  <c:v>1603</c:v>
                </c:pt>
              </c:numCache>
            </c:numRef>
          </c:bubbleSize>
          <c:bubble3D val="0"/>
          <c:extLst>
            <c:ext xmlns:c15="http://schemas.microsoft.com/office/drawing/2012/chart" uri="{02D57815-91ED-43cb-92C2-25804820EDAC}">
              <c15:datalabelsRange>
                <c15:f>Sheet1!$E$2:$E$10</c15:f>
                <c15:dlblRangeCache>
                  <c:ptCount val="9"/>
                  <c:pt idx="0">
                    <c:v>Intuition</c:v>
                  </c:pt>
                  <c:pt idx="1">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51F1D3-D6E9-4731-A9AD-8ADBC7300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62AECE-EE7D-4A97-8051-799A77675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95D1F6-985C-48F0-A11F-8564619F9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9187A6-96A8-445A-83F8-2E7DFB949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87DCF9-AFCD-4CB6-B709-AFCB13A33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87999D-067B-43AE-AD01-E19816DED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52FC5A-14BD-4974-A37B-37519FC1F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44E282-D304-4334-B542-EF43A5FAE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363089085197238</c:v>
                </c:pt>
                <c:pt idx="1">
                  <c:v>5.4104396680493076</c:v>
                </c:pt>
                <c:pt idx="2">
                  <c:v>4.959325730093104</c:v>
                </c:pt>
                <c:pt idx="3">
                  <c:v>5.9807297730612872</c:v>
                </c:pt>
                <c:pt idx="4">
                  <c:v>2.8695449244608531</c:v>
                </c:pt>
                <c:pt idx="5">
                  <c:v>5.1643248691035124</c:v>
                </c:pt>
                <c:pt idx="6">
                  <c:v>10.93180612650842</c:v>
                </c:pt>
                <c:pt idx="7">
                  <c:v>2.9391317168902882</c:v>
                </c:pt>
                <c:pt idx="8">
                  <c:v>14.909310033142511</c:v>
                </c:pt>
              </c:numCache>
            </c:numRef>
          </c:xVal>
          <c:yVal>
            <c:numRef>
              <c:f>Sheet1!$B$2:$B$10</c:f>
              <c:numCache>
                <c:formatCode>General</c:formatCode>
                <c:ptCount val="9"/>
                <c:pt idx="0">
                  <c:v>1.144793204354845</c:v>
                </c:pt>
                <c:pt idx="1">
                  <c:v>1.0687184183524649</c:v>
                </c:pt>
                <c:pt idx="2">
                  <c:v>0.97963016077009624</c:v>
                </c:pt>
                <c:pt idx="3">
                  <c:v>1.772112866293839</c:v>
                </c:pt>
                <c:pt idx="4">
                  <c:v>0.57846504775443286</c:v>
                </c:pt>
                <c:pt idx="5">
                  <c:v>0.61207818045515905</c:v>
                </c:pt>
                <c:pt idx="6">
                  <c:v>2.159489444726046</c:v>
                </c:pt>
                <c:pt idx="7">
                  <c:v>0.8708665194176054</c:v>
                </c:pt>
                <c:pt idx="8">
                  <c:v>3.6595925400994398</c:v>
                </c:pt>
              </c:numCache>
            </c:numRef>
          </c:yVal>
          <c:bubbleSize>
            <c:numRef>
              <c:f>Sheet1!$C$2:$C$10</c:f>
              <c:numCache>
                <c:formatCode>General</c:formatCode>
                <c:ptCount val="9"/>
                <c:pt idx="0">
                  <c:v>6857887</c:v>
                </c:pt>
                <c:pt idx="1">
                  <c:v>3701812</c:v>
                </c:pt>
                <c:pt idx="2">
                  <c:v>2642542</c:v>
                </c:pt>
                <c:pt idx="3">
                  <c:v>2506787</c:v>
                </c:pt>
                <c:pt idx="4">
                  <c:v>2182573</c:v>
                </c:pt>
                <c:pt idx="5">
                  <c:v>2100899</c:v>
                </c:pt>
                <c:pt idx="6">
                  <c:v>1318988</c:v>
                </c:pt>
                <c:pt idx="7">
                  <c:v>1156178</c:v>
                </c:pt>
                <c:pt idx="8">
                  <c:v>69277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Clio</c:v>
                  </c:pt>
                  <c:pt idx="3">
                    <c:v>Revlon</c:v>
                  </c:pt>
                  <c:pt idx="4">
                    <c:v>Rem Pl</c:v>
                  </c:pt>
                  <c:pt idx="5">
                    <c:v>Evribeauty</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209EAA-7B3C-481C-9A5B-5641C811C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E72AAB-7B2C-453B-ADAB-DE0960267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596DBA-41BB-4FEE-BDD5-2FCAD4839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6CC505-251D-4A4D-AD5C-76AE56927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3BD119-20B0-4C66-84B3-3DF8BE33D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C926BB-A1B4-41DB-B1A8-7AAA6309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B73DD9A-C3D9-4223-8A21-3AD49D97B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52ECFA-57AD-4D2C-B5F1-BC41123C3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434968820782758</c:v>
                </c:pt>
                <c:pt idx="1">
                  <c:v>7.5283156007457892</c:v>
                </c:pt>
                <c:pt idx="2">
                  <c:v>14.985088737054699</c:v>
                </c:pt>
                <c:pt idx="3">
                  <c:v>1.5565639167730121</c:v>
                </c:pt>
              </c:numCache>
            </c:numRef>
          </c:xVal>
          <c:yVal>
            <c:numRef>
              <c:f>Sheet1!$B$2:$B$5</c:f>
              <c:numCache>
                <c:formatCode>General</c:formatCode>
                <c:ptCount val="4"/>
                <c:pt idx="0">
                  <c:v>0.63988647060657555</c:v>
                </c:pt>
                <c:pt idx="1">
                  <c:v>3.29902655867614</c:v>
                </c:pt>
                <c:pt idx="2">
                  <c:v>1.879825484983626</c:v>
                </c:pt>
                <c:pt idx="3">
                  <c:v>0.52339514576669577</c:v>
                </c:pt>
              </c:numCache>
            </c:numRef>
          </c:yVal>
          <c:bubbleSize>
            <c:numRef>
              <c:f>Sheet1!$C$2:$C$5</c:f>
              <c:numCache>
                <c:formatCode>General</c:formatCode>
                <c:ptCount val="4"/>
                <c:pt idx="0">
                  <c:v>12561943</c:v>
                </c:pt>
                <c:pt idx="1">
                  <c:v>11362291</c:v>
                </c:pt>
                <c:pt idx="2">
                  <c:v>3138462</c:v>
                </c:pt>
                <c:pt idx="3">
                  <c:v>2560241</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11D2B4-E988-4509-94E3-618740B85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B7BC57-06B0-4D5F-82B7-10E3E5FFA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96B2D7-AB59-456C-9BE5-E83D65C8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A10E6E-7F92-4B05-8F9B-DD31D06DE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238F35-8D44-48E5-BCB5-74F781657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5F8F3A-2803-487E-87BB-92AEFA3F3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B36B10D-AC4B-4E42-BF2F-1D02B755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CDFDE1-050E-4115-8595-FF70512C7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437202172858306</c:v>
                </c:pt>
                <c:pt idx="1">
                  <c:v>5.7672422543827686</c:v>
                </c:pt>
                <c:pt idx="2">
                  <c:v>3.8424661120612482</c:v>
                </c:pt>
              </c:numCache>
            </c:numRef>
          </c:xVal>
          <c:yVal>
            <c:numRef>
              <c:f>Sheet1!$B$2:$B$4</c:f>
              <c:numCache>
                <c:formatCode>General</c:formatCode>
                <c:ptCount val="3"/>
                <c:pt idx="0">
                  <c:v>1.2611195665843209</c:v>
                </c:pt>
                <c:pt idx="1">
                  <c:v>0.69384975846396368</c:v>
                </c:pt>
                <c:pt idx="2">
                  <c:v>0.59761441624110478</c:v>
                </c:pt>
              </c:numCache>
            </c:numRef>
          </c:yVal>
          <c:bubbleSize>
            <c:numRef>
              <c:f>Sheet1!$C$2:$C$4</c:f>
              <c:numCache>
                <c:formatCode>General</c:formatCode>
                <c:ptCount val="3"/>
                <c:pt idx="0">
                  <c:v>56367852</c:v>
                </c:pt>
                <c:pt idx="1">
                  <c:v>16987810</c:v>
                </c:pt>
                <c:pt idx="2">
                  <c:v>609088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2D659F-3DED-44DF-8C85-A84D886C8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57BF47-9025-4900-A201-5C4C8DB30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EAF85A-206D-4E31-BA86-E72511E23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6F16F2-3024-48F5-9E93-0EBF06B7F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E31F75-C2F6-41A7-B11D-C43B09F8B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7BD6A5-0BA6-47C0-B521-7BAA819D2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D75608-032C-4604-AF3D-1ECCBF237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B3C116-5A93-45EB-82C7-7742AA8E8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94840459592361</c:v>
                </c:pt>
                <c:pt idx="1">
                  <c:v>6.8338839597683938</c:v>
                </c:pt>
                <c:pt idx="2">
                  <c:v>5.7076341608706418</c:v>
                </c:pt>
                <c:pt idx="3">
                  <c:v>5.1684377970956854</c:v>
                </c:pt>
                <c:pt idx="4">
                  <c:v>14.97587775655496</c:v>
                </c:pt>
                <c:pt idx="5">
                  <c:v>6.0145409950946043</c:v>
                </c:pt>
              </c:numCache>
            </c:numRef>
          </c:xVal>
          <c:yVal>
            <c:numRef>
              <c:f>Sheet1!$B$2:$B$7</c:f>
              <c:numCache>
                <c:formatCode>General</c:formatCode>
                <c:ptCount val="6"/>
                <c:pt idx="0">
                  <c:v>1.643811276633087</c:v>
                </c:pt>
                <c:pt idx="1">
                  <c:v>0.569416828509961</c:v>
                </c:pt>
                <c:pt idx="2">
                  <c:v>0.67828188102817044</c:v>
                </c:pt>
                <c:pt idx="3">
                  <c:v>0.55052526129756141</c:v>
                </c:pt>
                <c:pt idx="4">
                  <c:v>1.4836235761509851</c:v>
                </c:pt>
                <c:pt idx="5">
                  <c:v>0.80049693780231912</c:v>
                </c:pt>
              </c:numCache>
            </c:numRef>
          </c:yVal>
          <c:bubbleSize>
            <c:numRef>
              <c:f>Sheet1!$C$2:$C$7</c:f>
              <c:numCache>
                <c:formatCode>General</c:formatCode>
                <c:ptCount val="6"/>
                <c:pt idx="0">
                  <c:v>21511399</c:v>
                </c:pt>
                <c:pt idx="1">
                  <c:v>4381121</c:v>
                </c:pt>
                <c:pt idx="2">
                  <c:v>4196675</c:v>
                </c:pt>
                <c:pt idx="3">
                  <c:v>4158861</c:v>
                </c:pt>
                <c:pt idx="4">
                  <c:v>2156152</c:v>
                </c:pt>
                <c:pt idx="5">
                  <c:v>1716550</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E40732-5880-4132-AE70-F84965E10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1467D0-96F4-4E79-8A1A-BC8CD0DFF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9465DC-0FDC-4DFE-88EF-7045B5D93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1935B1-680C-411F-8A01-7723315D3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90DF03-657D-4D73-BAF9-3436AB1FA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BFD42A-B23E-47C7-902F-7344DAECD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690CF7-BC69-40C8-AD6D-7E4F8EB38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B034A3-F048-4628-A118-717D5A46D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24089526699229</c:v>
                </c:pt>
                <c:pt idx="1">
                  <c:v>4.6794593885173379</c:v>
                </c:pt>
                <c:pt idx="2">
                  <c:v>6.4223055507771489</c:v>
                </c:pt>
                <c:pt idx="3">
                  <c:v>10.800455477809489</c:v>
                </c:pt>
                <c:pt idx="4">
                  <c:v>12.6981059770799</c:v>
                </c:pt>
                <c:pt idx="5">
                  <c:v>10.333809487609679</c:v>
                </c:pt>
                <c:pt idx="6">
                  <c:v>10.542645437978109</c:v>
                </c:pt>
                <c:pt idx="7">
                  <c:v>3.8659999918510479</c:v>
                </c:pt>
                <c:pt idx="8">
                  <c:v>10.912172107183901</c:v>
                </c:pt>
              </c:numCache>
            </c:numRef>
          </c:xVal>
          <c:yVal>
            <c:numRef>
              <c:f>Sheet1!$B$2:$B$10</c:f>
              <c:numCache>
                <c:formatCode>General</c:formatCode>
                <c:ptCount val="9"/>
                <c:pt idx="0">
                  <c:v>1.6470562492667971</c:v>
                </c:pt>
                <c:pt idx="1">
                  <c:v>0.64156929890969616</c:v>
                </c:pt>
                <c:pt idx="2">
                  <c:v>0.96340597027425368</c:v>
                </c:pt>
                <c:pt idx="3">
                  <c:v>1.718088429329927</c:v>
                </c:pt>
                <c:pt idx="4">
                  <c:v>2.316335122396147</c:v>
                </c:pt>
                <c:pt idx="5">
                  <c:v>1.8595162213914911</c:v>
                </c:pt>
                <c:pt idx="6">
                  <c:v>1.514602464357983</c:v>
                </c:pt>
                <c:pt idx="7">
                  <c:v>0.16262844404122129</c:v>
                </c:pt>
                <c:pt idx="8">
                  <c:v>1.744532738044779</c:v>
                </c:pt>
              </c:numCache>
            </c:numRef>
          </c:yVal>
          <c:bubbleSize>
            <c:numRef>
              <c:f>Sheet1!$C$2:$C$10</c:f>
              <c:numCache>
                <c:formatCode>General</c:formatCode>
                <c:ptCount val="9"/>
                <c:pt idx="0">
                  <c:v>26069776</c:v>
                </c:pt>
                <c:pt idx="1">
                  <c:v>8557187</c:v>
                </c:pt>
                <c:pt idx="2">
                  <c:v>8325498</c:v>
                </c:pt>
                <c:pt idx="3">
                  <c:v>6350171</c:v>
                </c:pt>
                <c:pt idx="4">
                  <c:v>5931298</c:v>
                </c:pt>
                <c:pt idx="5">
                  <c:v>5845247</c:v>
                </c:pt>
                <c:pt idx="6">
                  <c:v>4830482</c:v>
                </c:pt>
                <c:pt idx="7">
                  <c:v>2846501</c:v>
                </c:pt>
                <c:pt idx="8">
                  <c:v>108242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Intuition</c:v>
                  </c:pt>
                  <c:pt idx="5">
                    <c:v>Hydro Silk</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DAFE45-6B01-4479-BBA8-9EBCB5089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2BFC32-1121-4A01-8059-FAFA990EB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23A2D1-0CC8-4AA8-8D72-0EE008B3C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1115F7-3F83-496A-BD5A-E96F4D249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E6B637-EF40-484F-8CF4-9ACBDCC5F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830C3E-D06D-450F-A86E-F9858322B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00034D-CBD6-4A4E-9121-6A91F71B8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2D008C-A2DE-4B38-998E-2BEEDCB8F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24710507079741</c:v>
                </c:pt>
                <c:pt idx="1">
                  <c:v>10.79258616907077</c:v>
                </c:pt>
                <c:pt idx="2">
                  <c:v>5.8548757228379058</c:v>
                </c:pt>
                <c:pt idx="3">
                  <c:v>10.52456315706084</c:v>
                </c:pt>
                <c:pt idx="4">
                  <c:v>12.55898025709892</c:v>
                </c:pt>
                <c:pt idx="5">
                  <c:v>7.4829565791656201</c:v>
                </c:pt>
                <c:pt idx="6">
                  <c:v>10.91927698317218</c:v>
                </c:pt>
              </c:numCache>
            </c:numRef>
          </c:xVal>
          <c:yVal>
            <c:numRef>
              <c:f>Sheet1!$B$2:$B$8</c:f>
              <c:numCache>
                <c:formatCode>General</c:formatCode>
                <c:ptCount val="7"/>
                <c:pt idx="0">
                  <c:v>1.765000346965294</c:v>
                </c:pt>
                <c:pt idx="1">
                  <c:v>0.99868487632541036</c:v>
                </c:pt>
                <c:pt idx="2">
                  <c:v>0.55703957784707681</c:v>
                </c:pt>
                <c:pt idx="3">
                  <c:v>0.88503461966757113</c:v>
                </c:pt>
                <c:pt idx="4">
                  <c:v>1.4555849231650231</c:v>
                </c:pt>
                <c:pt idx="5">
                  <c:v>0.85065586469470866</c:v>
                </c:pt>
                <c:pt idx="6">
                  <c:v>1.0242396926431729</c:v>
                </c:pt>
              </c:numCache>
            </c:numRef>
          </c:yVal>
          <c:bubbleSize>
            <c:numRef>
              <c:f>Sheet1!$C$2:$C$8</c:f>
              <c:numCache>
                <c:formatCode>General</c:formatCode>
                <c:ptCount val="7"/>
                <c:pt idx="0">
                  <c:v>39000866</c:v>
                </c:pt>
                <c:pt idx="1">
                  <c:v>23908147</c:v>
                </c:pt>
                <c:pt idx="2">
                  <c:v>22117642</c:v>
                </c:pt>
                <c:pt idx="3">
                  <c:v>17868677</c:v>
                </c:pt>
                <c:pt idx="4">
                  <c:v>17591439</c:v>
                </c:pt>
                <c:pt idx="5">
                  <c:v>14571494</c:v>
                </c:pt>
                <c:pt idx="6">
                  <c:v>44111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DECDE2-C828-435B-9215-3047F8F30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34E37-0E0D-4EDC-B94A-DF14CC5C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9B51B55-F3CC-4FE1-9E29-6CF077FD6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A0F9A8-701C-4355-AB64-286B7A32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5C0501C-19FB-49D6-8B64-2246C2DAA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392F05-CBDA-4C77-8CA5-40265254E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6E9CCE-4EFF-46E2-9089-748044200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FD60F7-B246-48D7-8992-C831B711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40815522182169</c:v>
                </c:pt>
                <c:pt idx="1">
                  <c:v>8.9351924758049019</c:v>
                </c:pt>
              </c:numCache>
            </c:numRef>
          </c:xVal>
          <c:yVal>
            <c:numRef>
              <c:f>Sheet1!$B$2:$B$3</c:f>
              <c:numCache>
                <c:formatCode>General</c:formatCode>
                <c:ptCount val="2"/>
                <c:pt idx="0">
                  <c:v>1.0864490052561291</c:v>
                </c:pt>
                <c:pt idx="1">
                  <c:v>0.86972833281595197</c:v>
                </c:pt>
              </c:numCache>
            </c:numRef>
          </c:yVal>
          <c:bubbleSize>
            <c:numRef>
              <c:f>Sheet1!$C$2:$C$3</c:f>
              <c:numCache>
                <c:formatCode>General</c:formatCode>
                <c:ptCount val="2"/>
                <c:pt idx="0">
                  <c:v>2713613</c:v>
                </c:pt>
                <c:pt idx="1">
                  <c:v>144118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74B1E0-8F05-4FE0-8112-C2E554B7B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F73E36-906D-42BB-8933-DFD0E52E7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CBF432-0DB5-4C68-A104-44971F556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91569C-02A3-4670-85A9-99D2D2451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97AD0A-D580-4F77-B1D4-C7FFB03B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085EAC-5BCC-458A-A20B-E59DDEC9F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590798-62CD-474F-86C1-A408A6CBA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B6BD9A-837B-4DFF-A9B5-9EBFFF56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660008877052821</c:v>
                </c:pt>
                <c:pt idx="1">
                  <c:v>6.0794592812396964</c:v>
                </c:pt>
                <c:pt idx="2">
                  <c:v>7.1403805496828756</c:v>
                </c:pt>
                <c:pt idx="3">
                  <c:v>9.9833531510107019</c:v>
                </c:pt>
                <c:pt idx="4">
                  <c:v>6.9863945578231297</c:v>
                </c:pt>
                <c:pt idx="5">
                  <c:v>12.419529837251361</c:v>
                </c:pt>
                <c:pt idx="6">
                  <c:v>12.92460317460317</c:v>
                </c:pt>
                <c:pt idx="7">
                  <c:v>5.4741379310344831</c:v>
                </c:pt>
              </c:numCache>
            </c:numRef>
          </c:xVal>
          <c:yVal>
            <c:numRef>
              <c:f>Sheet1!$B$2:$B$9</c:f>
              <c:numCache>
                <c:formatCode>General</c:formatCode>
                <c:ptCount val="8"/>
                <c:pt idx="0">
                  <c:v>1.0962293881260119</c:v>
                </c:pt>
                <c:pt idx="1">
                  <c:v>0.81302989355552557</c:v>
                </c:pt>
                <c:pt idx="2">
                  <c:v>1.4166052515900081</c:v>
                </c:pt>
                <c:pt idx="3">
                  <c:v>1.343975396473724</c:v>
                </c:pt>
                <c:pt idx="4">
                  <c:v>0.95327874083585407</c:v>
                </c:pt>
                <c:pt idx="5">
                  <c:v>1.733535665326243</c:v>
                </c:pt>
                <c:pt idx="6">
                  <c:v>1.694757063946104</c:v>
                </c:pt>
                <c:pt idx="7">
                  <c:v>0.71919997166113636</c:v>
                </c:pt>
              </c:numCache>
            </c:numRef>
          </c:yVal>
          <c:bubbleSize>
            <c:numRef>
              <c:f>Sheet1!$C$2:$C$9</c:f>
              <c:numCache>
                <c:formatCode>General</c:formatCode>
                <c:ptCount val="8"/>
                <c:pt idx="0">
                  <c:v>43555</c:v>
                </c:pt>
                <c:pt idx="1">
                  <c:v>18439</c:v>
                </c:pt>
                <c:pt idx="2">
                  <c:v>16887</c:v>
                </c:pt>
                <c:pt idx="3">
                  <c:v>16792</c:v>
                </c:pt>
                <c:pt idx="4">
                  <c:v>7189</c:v>
                </c:pt>
                <c:pt idx="5">
                  <c:v>6868</c:v>
                </c:pt>
                <c:pt idx="6">
                  <c:v>6514</c:v>
                </c:pt>
                <c:pt idx="7">
                  <c:v>254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Clio</c:v>
                  </c:pt>
                  <c:pt idx="5">
                    <c:v>Japonesque</c:v>
                  </c:pt>
                  <c:pt idx="6">
                    <c:v>Billi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51C9F8-9A96-4613-A3BE-B3EBE50EE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7AB308-3233-49A4-A2DF-3A5A84E60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25C2BC-765D-46EB-A774-35C34CE5B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F3D4745-9D73-48ED-BFE5-A9B85BFD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860325C-DAB8-4D16-B9CB-289178368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2007FD-3625-47CD-A678-75F679BB1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940B79-B59B-4520-91B0-464CE0E48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4B7E28-D765-4855-866F-A64C822AF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188418079096049</c:v>
                </c:pt>
                <c:pt idx="1">
                  <c:v>14.358535614803021</c:v>
                </c:pt>
              </c:numCache>
            </c:numRef>
          </c:xVal>
          <c:yVal>
            <c:numRef>
              <c:f>Sheet1!$B$2:$B$3</c:f>
              <c:numCache>
                <c:formatCode>General</c:formatCode>
                <c:ptCount val="2"/>
                <c:pt idx="0">
                  <c:v>2.1565426961966758</c:v>
                </c:pt>
                <c:pt idx="1">
                  <c:v>0.54421254550287457</c:v>
                </c:pt>
              </c:numCache>
            </c:numRef>
          </c:yVal>
          <c:bubbleSize>
            <c:numRef>
              <c:f>Sheet1!$C$2:$C$3</c:f>
              <c:numCache>
                <c:formatCode>General</c:formatCode>
                <c:ptCount val="2"/>
                <c:pt idx="0">
                  <c:v>53767</c:v>
                </c:pt>
                <c:pt idx="1">
                  <c:v>36083</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D77B51-E0FD-4800-94B7-E2E943CC7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2D377-354A-4029-8106-6517BD974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F2817B8-CD74-4F28-A0D7-320B48A5F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AC4C8B5-0B67-4B38-A394-BD749EA97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EB35EE-BC51-411E-B73D-3A0F5E02E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3E0D9D-8DC1-4DD9-9FEE-E52FF42D6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C0D3CB-B618-499A-8395-69BB4E97F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56FF32-68D8-4F14-AC0B-4AE7AAF54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508448224615311</c:v>
                </c:pt>
                <c:pt idx="1">
                  <c:v>10.17326994189118</c:v>
                </c:pt>
              </c:numCache>
            </c:numRef>
          </c:xVal>
          <c:yVal>
            <c:numRef>
              <c:f>Sheet1!$B$2:$B$3</c:f>
              <c:numCache>
                <c:formatCode>General</c:formatCode>
                <c:ptCount val="2"/>
                <c:pt idx="0">
                  <c:v>1.002080183288361</c:v>
                </c:pt>
                <c:pt idx="1">
                  <c:v>1.039614541815395</c:v>
                </c:pt>
              </c:numCache>
            </c:numRef>
          </c:yVal>
          <c:bubbleSize>
            <c:numRef>
              <c:f>Sheet1!$C$2:$C$3</c:f>
              <c:numCache>
                <c:formatCode>General</c:formatCode>
                <c:ptCount val="2"/>
                <c:pt idx="0">
                  <c:v>503345</c:v>
                </c:pt>
                <c:pt idx="1">
                  <c:v>1925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E64DAB-1EA5-4596-9051-0FB5C6E4A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737606-A47E-4C26-8A39-67B3A8613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C96E3-D100-4CB5-A456-6B914523B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43A5A9-6765-4826-BEB3-D2D11CF80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F4C0083-3BEB-4812-B3D9-630E7D71F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6C204C-5257-4D43-A2B7-04C4086B8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357D46-0899-45B4-878E-C57767A57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F13AFA-9170-4E46-9DB4-BFFFF09BC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42770707281452</c:v>
                </c:pt>
                <c:pt idx="1">
                  <c:v>8.2240935421583359</c:v>
                </c:pt>
                <c:pt idx="2">
                  <c:v>13.83411115825202</c:v>
                </c:pt>
              </c:numCache>
            </c:numRef>
          </c:xVal>
          <c:yVal>
            <c:numRef>
              <c:f>Sheet1!$B$2:$B$4</c:f>
              <c:numCache>
                <c:formatCode>General</c:formatCode>
                <c:ptCount val="3"/>
                <c:pt idx="0">
                  <c:v>1.575520188022951</c:v>
                </c:pt>
                <c:pt idx="1">
                  <c:v>0.59379715038594694</c:v>
                </c:pt>
                <c:pt idx="2">
                  <c:v>0.72962919846855656</c:v>
                </c:pt>
              </c:numCache>
            </c:numRef>
          </c:yVal>
          <c:bubbleSize>
            <c:numRef>
              <c:f>Sheet1!$C$2:$C$4</c:f>
              <c:numCache>
                <c:formatCode>General</c:formatCode>
                <c:ptCount val="3"/>
                <c:pt idx="0">
                  <c:v>176648</c:v>
                </c:pt>
                <c:pt idx="1">
                  <c:v>76665</c:v>
                </c:pt>
                <c:pt idx="2">
                  <c:v>32607</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4A35DF-3313-412F-9B8B-4A41B7D87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C4D266-92C4-464C-83E5-7300B58FE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105A28-842A-4B69-A254-83676635E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168EE-33D5-4099-B3F6-64E4593C0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4C8A7-1A21-40FE-A553-6442806DD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7F43D1-ECC3-4324-8435-5F9EB7AF4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DEC860-F613-4079-AE55-DC4F3694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31C0EB-61F5-4958-B477-A59E7173C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964810300643791</c:v>
                </c:pt>
                <c:pt idx="1">
                  <c:v>12.53099427168576</c:v>
                </c:pt>
                <c:pt idx="2">
                  <c:v>15.619842969307641</c:v>
                </c:pt>
                <c:pt idx="3">
                  <c:v>12.29960531036957</c:v>
                </c:pt>
              </c:numCache>
            </c:numRef>
          </c:xVal>
          <c:yVal>
            <c:numRef>
              <c:f>Sheet1!$B$2:$B$5</c:f>
              <c:numCache>
                <c:formatCode>General</c:formatCode>
                <c:ptCount val="4"/>
                <c:pt idx="0">
                  <c:v>1.314523687267358</c:v>
                </c:pt>
                <c:pt idx="1">
                  <c:v>0.69051922371590879</c:v>
                </c:pt>
                <c:pt idx="2">
                  <c:v>1.1012024652990291</c:v>
                </c:pt>
                <c:pt idx="3">
                  <c:v>0.76507166378508384</c:v>
                </c:pt>
              </c:numCache>
            </c:numRef>
          </c:yVal>
          <c:bubbleSize>
            <c:numRef>
              <c:f>Sheet1!$C$2:$C$5</c:f>
              <c:numCache>
                <c:formatCode>General</c:formatCode>
                <c:ptCount val="4"/>
                <c:pt idx="0">
                  <c:v>319417</c:v>
                </c:pt>
                <c:pt idx="1">
                  <c:v>122503</c:v>
                </c:pt>
                <c:pt idx="2">
                  <c:v>109417</c:v>
                </c:pt>
                <c:pt idx="3">
                  <c:v>102837</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Hydro Silk</c:v>
                  </c:pt>
                  <c:pt idx="3">
                    <c:v>Billi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6E1575-ECA5-4F6C-A6FB-92B6A1AE9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C36551A-FF89-4F77-89E0-2D5F34AD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F2E7101-E724-4D2F-A954-45F839F4E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D5F39A-ECCD-4BE9-BECD-1D3C7CAB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605F17-877A-42EA-9819-26329B7B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E7B299-1620-4E88-B34C-635C803A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B0DAE5-E913-44A1-931A-8D271B20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DCBD5D-732D-4934-85A7-121F282C2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4086021505376</c:v>
                </c:pt>
              </c:numCache>
            </c:numRef>
          </c:xVal>
          <c:yVal>
            <c:numRef>
              <c:f>Sheet1!$B$2:$B$2</c:f>
              <c:numCache>
                <c:formatCode>General</c:formatCode>
                <c:ptCount val="1"/>
                <c:pt idx="0">
                  <c:v>1.5054635062384421</c:v>
                </c:pt>
              </c:numCache>
            </c:numRef>
          </c:yVal>
          <c:bubbleSize>
            <c:numRef>
              <c:f>Sheet1!$C$2:$C$2</c:f>
              <c:numCache>
                <c:formatCode>General</c:formatCode>
                <c:ptCount val="1"/>
                <c:pt idx="0">
                  <c:v>17864</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C82142-1DF0-4949-A283-236B4CD7B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AE6244-5F16-42B7-82C1-549BB0564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6EBC1E-7532-41A9-93B3-0BF1D9A88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BA8E03-5CFA-4E41-936B-DC4D13099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EC514D-34E6-4345-A1C5-191D66FEE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63DD26-7E59-47A5-92FD-264B21218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762F51-5681-4ABF-9E56-FB9EEA012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6A0E48-ED1C-4702-A029-A58272831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34757476752953</c:v>
                </c:pt>
                <c:pt idx="1">
                  <c:v>6.0289962825278813</c:v>
                </c:pt>
                <c:pt idx="2">
                  <c:v>9.7257571122667485</c:v>
                </c:pt>
                <c:pt idx="3">
                  <c:v>7.1430342651036973</c:v>
                </c:pt>
                <c:pt idx="4">
                  <c:v>12.622994652406421</c:v>
                </c:pt>
                <c:pt idx="5">
                  <c:v>6.5711086226203808</c:v>
                </c:pt>
                <c:pt idx="6">
                  <c:v>12.126809097174361</c:v>
                </c:pt>
                <c:pt idx="7">
                  <c:v>5.4190160309563291</c:v>
                </c:pt>
              </c:numCache>
            </c:numRef>
          </c:xVal>
          <c:yVal>
            <c:numRef>
              <c:f>Sheet1!$B$2:$B$9</c:f>
              <c:numCache>
                <c:formatCode>General</c:formatCode>
                <c:ptCount val="8"/>
                <c:pt idx="0">
                  <c:v>1.1147224047550539</c:v>
                </c:pt>
                <c:pt idx="1">
                  <c:v>0.77513933203534013</c:v>
                </c:pt>
                <c:pt idx="2">
                  <c:v>1.281564736089023</c:v>
                </c:pt>
                <c:pt idx="3">
                  <c:v>1.3701492435149181</c:v>
                </c:pt>
                <c:pt idx="4">
                  <c:v>1.6118686748725439</c:v>
                </c:pt>
                <c:pt idx="5">
                  <c:v>0.85975580863854895</c:v>
                </c:pt>
                <c:pt idx="6">
                  <c:v>1.6518287938720519</c:v>
                </c:pt>
                <c:pt idx="7">
                  <c:v>0.69180192391291806</c:v>
                </c:pt>
              </c:numCache>
            </c:numRef>
          </c:yVal>
          <c:bubbleSize>
            <c:numRef>
              <c:f>Sheet1!$C$2:$C$9</c:f>
              <c:numCache>
                <c:formatCode>General</c:formatCode>
                <c:ptCount val="8"/>
                <c:pt idx="0">
                  <c:v>164692</c:v>
                </c:pt>
                <c:pt idx="1">
                  <c:v>72981</c:v>
                </c:pt>
                <c:pt idx="2">
                  <c:v>63587</c:v>
                </c:pt>
                <c:pt idx="3">
                  <c:v>63373</c:v>
                </c:pt>
                <c:pt idx="4">
                  <c:v>28326</c:v>
                </c:pt>
                <c:pt idx="5">
                  <c:v>23472</c:v>
                </c:pt>
                <c:pt idx="6">
                  <c:v>17596</c:v>
                </c:pt>
                <c:pt idx="7">
                  <c:v>980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EEE2BA-569F-4BB9-A9C7-EE39C0D69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B7746-EE69-4A01-8E7B-6FCA172E3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38D8C7-6BF3-4E7B-9406-779B6C39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B7FC6E-6BC1-47C0-9729-846015A8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4EFD62-07D9-4BE8-9321-B8D9E014B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0C4017-5074-4804-9087-3B8F3BA07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B0B679-6AA8-4282-9AED-FA4ADFCAB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784F137-C708-46E2-9430-8BDD1687D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066318355973531</c:v>
                </c:pt>
                <c:pt idx="1">
                  <c:v>14.88006891068116</c:v>
                </c:pt>
              </c:numCache>
            </c:numRef>
          </c:xVal>
          <c:yVal>
            <c:numRef>
              <c:f>Sheet1!$B$2:$B$3</c:f>
              <c:numCache>
                <c:formatCode>General</c:formatCode>
                <c:ptCount val="2"/>
                <c:pt idx="0">
                  <c:v>1.8472531698022849</c:v>
                </c:pt>
                <c:pt idx="1">
                  <c:v>0.52050594060008859</c:v>
                </c:pt>
              </c:numCache>
            </c:numRef>
          </c:yVal>
          <c:bubbleSize>
            <c:numRef>
              <c:f>Sheet1!$C$2:$C$3</c:f>
              <c:numCache>
                <c:formatCode>General</c:formatCode>
                <c:ptCount val="2"/>
                <c:pt idx="0">
                  <c:v>216277</c:v>
                </c:pt>
                <c:pt idx="1">
                  <c:v>11228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38FD8E-75F3-4375-98AB-302B77B30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308CD6-FA99-40E3-BE64-1CDBB1C4B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096DD5-50FA-4795-823D-6862303FA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761455-2E9F-4C33-A1F6-6590E4EE1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044A0D-73FF-4FB5-9E88-F52AFE57A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ED266E-7740-4BC4-A63C-1DFE1C875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49D22B-B67F-433F-8824-D425F3E9C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4DE83F-D2DA-46C2-A508-DA2F056E7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5.112340074870859</c:v>
                </c:pt>
                <c:pt idx="1">
                  <c:v>16.770127102978101</c:v>
                </c:pt>
                <c:pt idx="2">
                  <c:v>15.260293798393519</c:v>
                </c:pt>
                <c:pt idx="3">
                  <c:v>9.2060595666161991</c:v>
                </c:pt>
                <c:pt idx="4">
                  <c:v>13.30728580567385</c:v>
                </c:pt>
                <c:pt idx="5">
                  <c:v>15.91784377759401</c:v>
                </c:pt>
                <c:pt idx="6">
                  <c:v>10.82733213749561</c:v>
                </c:pt>
                <c:pt idx="7">
                  <c:v>15.886072655919691</c:v>
                </c:pt>
                <c:pt idx="8">
                  <c:v>13.55349187062431</c:v>
                </c:pt>
              </c:numCache>
            </c:numRef>
          </c:xVal>
          <c:yVal>
            <c:numRef>
              <c:f>Sheet1!$B$2:$B$10</c:f>
              <c:numCache>
                <c:formatCode>General</c:formatCode>
                <c:ptCount val="9"/>
                <c:pt idx="0">
                  <c:v>1.558385560465017</c:v>
                </c:pt>
                <c:pt idx="1">
                  <c:v>1.287526068053803</c:v>
                </c:pt>
                <c:pt idx="2">
                  <c:v>1.5038024566521031</c:v>
                </c:pt>
                <c:pt idx="3">
                  <c:v>0.57502961372896899</c:v>
                </c:pt>
                <c:pt idx="4">
                  <c:v>0.66253618912201495</c:v>
                </c:pt>
                <c:pt idx="5">
                  <c:v>1.175500516643224</c:v>
                </c:pt>
                <c:pt idx="6">
                  <c:v>0.52739578684276645</c:v>
                </c:pt>
                <c:pt idx="7">
                  <c:v>0.99747395273416806</c:v>
                </c:pt>
                <c:pt idx="8">
                  <c:v>0.86628559815146</c:v>
                </c:pt>
              </c:numCache>
            </c:numRef>
          </c:yVal>
          <c:bubbleSize>
            <c:numRef>
              <c:f>Sheet1!$C$2:$C$10</c:f>
              <c:numCache>
                <c:formatCode>General</c:formatCode>
                <c:ptCount val="9"/>
                <c:pt idx="0">
                  <c:v>59931944</c:v>
                </c:pt>
                <c:pt idx="1">
                  <c:v>14741797</c:v>
                </c:pt>
                <c:pt idx="2">
                  <c:v>8435280</c:v>
                </c:pt>
                <c:pt idx="3">
                  <c:v>7783171</c:v>
                </c:pt>
                <c:pt idx="4">
                  <c:v>6302956</c:v>
                </c:pt>
                <c:pt idx="5">
                  <c:v>5678452</c:v>
                </c:pt>
                <c:pt idx="6">
                  <c:v>5329895</c:v>
                </c:pt>
                <c:pt idx="7">
                  <c:v>2930758</c:v>
                </c:pt>
                <c:pt idx="8">
                  <c:v>281094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c Soleil</c:v>
                  </c:pt>
                  <c:pt idx="4">
                    <c:v>Amazon</c:v>
                  </c:pt>
                  <c:pt idx="5">
                    <c:v>Flamingo</c:v>
                  </c:pt>
                  <c:pt idx="6">
                    <c:v>Billie</c:v>
                  </c:pt>
                  <c:pt idx="7">
                    <c:v>Jo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B5A86C-4E0D-440E-BFF2-36C19A0E0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E65B4D-B9A3-4A81-9BC7-87A0F5CB1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41FBE5-D929-45BD-B2AD-64AFF3EF5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B12903-1EED-48FA-B3E9-07EFB8A56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176ECE-201B-4FF4-B341-3B0B53DAF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26C44A-E8A5-43CA-911E-0AB2C0FD7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B0E6AB-CC02-43FA-9C7C-668B841AF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C3D9C8-2149-46A7-BECE-1F3CD05E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4144423409924904</c:v>
                </c:pt>
                <c:pt idx="1">
                  <c:v>4.0839354243938004</c:v>
                </c:pt>
                <c:pt idx="2">
                  <c:v>5.9579218023018532</c:v>
                </c:pt>
                <c:pt idx="3">
                  <c:v>4.7786335179930637</c:v>
                </c:pt>
                <c:pt idx="4">
                  <c:v>6.5862378267555099</c:v>
                </c:pt>
                <c:pt idx="5">
                  <c:v>13.249325418240691</c:v>
                </c:pt>
                <c:pt idx="6">
                  <c:v>13.027050113895219</c:v>
                </c:pt>
              </c:numCache>
            </c:numRef>
          </c:xVal>
          <c:yVal>
            <c:numRef>
              <c:f>Sheet1!$B$2:$B$8</c:f>
              <c:numCache>
                <c:formatCode>General</c:formatCode>
                <c:ptCount val="7"/>
                <c:pt idx="0">
                  <c:v>1.4609857308034699</c:v>
                </c:pt>
                <c:pt idx="1">
                  <c:v>0.86154781414014991</c:v>
                </c:pt>
                <c:pt idx="2">
                  <c:v>1.4119367032475381</c:v>
                </c:pt>
                <c:pt idx="3">
                  <c:v>0.29144563391960082</c:v>
                </c:pt>
                <c:pt idx="4">
                  <c:v>0.87330693873146747</c:v>
                </c:pt>
                <c:pt idx="5">
                  <c:v>3.544651957528036</c:v>
                </c:pt>
                <c:pt idx="6">
                  <c:v>3.6821225419634982</c:v>
                </c:pt>
              </c:numCache>
            </c:numRef>
          </c:yVal>
          <c:bubbleSize>
            <c:numRef>
              <c:f>Sheet1!$C$2:$C$8</c:f>
              <c:numCache>
                <c:formatCode>General</c:formatCode>
                <c:ptCount val="7"/>
                <c:pt idx="0">
                  <c:v>1652783</c:v>
                </c:pt>
                <c:pt idx="1">
                  <c:v>380974</c:v>
                </c:pt>
                <c:pt idx="2">
                  <c:v>145981</c:v>
                </c:pt>
                <c:pt idx="3">
                  <c:v>106100</c:v>
                </c:pt>
                <c:pt idx="4">
                  <c:v>102798</c:v>
                </c:pt>
                <c:pt idx="5">
                  <c:v>73653</c:v>
                </c:pt>
                <c:pt idx="6">
                  <c:v>45751</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Skintimate</c:v>
                  </c:pt>
                  <c:pt idx="5">
                    <c:v>Hydro Silk</c:v>
                  </c:pt>
                  <c:pt idx="6">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9299C-BF53-477E-AB66-8D74E20B7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534BDC-0094-40A0-AD51-060ED515C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EB12B00-B75C-4188-B83E-0EE4AD7A3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76AEFBB-A4A3-4277-A1B4-D4A0176D4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1916E9-2A2B-46EA-895A-876FF9C39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3A7E2B9-536A-45B4-8C2C-BF77A1A06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4730F1-D709-4850-AB43-062403ED2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A7DA3A-17B3-4551-A767-2FA087253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640949247248461</c:v>
                </c:pt>
                <c:pt idx="1">
                  <c:v>10.163380651945319</c:v>
                </c:pt>
              </c:numCache>
            </c:numRef>
          </c:xVal>
          <c:yVal>
            <c:numRef>
              <c:f>Sheet1!$B$2:$B$3</c:f>
              <c:numCache>
                <c:formatCode>General</c:formatCode>
                <c:ptCount val="2"/>
                <c:pt idx="0">
                  <c:v>1.0017994416224381</c:v>
                </c:pt>
                <c:pt idx="1">
                  <c:v>1.012625913116991</c:v>
                </c:pt>
              </c:numCache>
            </c:numRef>
          </c:yVal>
          <c:bubbleSize>
            <c:numRef>
              <c:f>Sheet1!$C$2:$C$3</c:f>
              <c:numCache>
                <c:formatCode>General</c:formatCode>
                <c:ptCount val="2"/>
                <c:pt idx="0">
                  <c:v>2133332</c:v>
                </c:pt>
                <c:pt idx="1">
                  <c:v>7732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9ACEF2-3BF9-45B6-8562-8D2E604B0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8EF33A-BF68-49D0-85CC-DCECDA2B2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4C17B-CF53-4CC1-B12F-B7F4E0472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1DD4B7-8DEF-49A1-A7C9-BCFD443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D61A6B-C078-4684-ADA3-F193C66EF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4B481F-A925-45CF-BE3E-8355029F5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384C85D-6DF3-4CC2-8D6C-783046BDD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D53B45-269A-4DB6-A05A-374C7FFD5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504183010121508</c:v>
                </c:pt>
                <c:pt idx="1">
                  <c:v>8.1994041944709242</c:v>
                </c:pt>
                <c:pt idx="2">
                  <c:v>14.030491951938339</c:v>
                </c:pt>
              </c:numCache>
            </c:numRef>
          </c:xVal>
          <c:yVal>
            <c:numRef>
              <c:f>Sheet1!$B$2:$B$4</c:f>
              <c:numCache>
                <c:formatCode>General</c:formatCode>
                <c:ptCount val="3"/>
                <c:pt idx="0">
                  <c:v>1.6375502667021249</c:v>
                </c:pt>
                <c:pt idx="1">
                  <c:v>0.60837005995237303</c:v>
                </c:pt>
                <c:pt idx="2">
                  <c:v>0.75040315004167324</c:v>
                </c:pt>
              </c:numCache>
            </c:numRef>
          </c:yVal>
          <c:bubbleSize>
            <c:numRef>
              <c:f>Sheet1!$C$2:$C$4</c:f>
              <c:numCache>
                <c:formatCode>General</c:formatCode>
                <c:ptCount val="3"/>
                <c:pt idx="0">
                  <c:v>674607</c:v>
                </c:pt>
                <c:pt idx="1">
                  <c:v>344047</c:v>
                </c:pt>
                <c:pt idx="2">
                  <c:v>123777</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8A571D-7DC1-4448-900B-4EF66F9AE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A00087-A28D-449B-9AE9-4BB9C4BDD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97FDCC-D6BA-461C-8207-AFCC44CE2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EB0BA3-BDE8-4975-8AF0-094B8072F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8B0438-77D8-416A-B088-2080D8C46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EE4C43-6AE6-45A6-9C52-A9079EB7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A66689-B73E-42AF-BAB6-DE320FE0A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1F75C9-F1F0-4A1E-BD5B-72D52D8DB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030663804491411</c:v>
                </c:pt>
                <c:pt idx="1">
                  <c:v>12.37261229829917</c:v>
                </c:pt>
                <c:pt idx="2">
                  <c:v>12.932635956897091</c:v>
                </c:pt>
                <c:pt idx="3">
                  <c:v>15.687460468058189</c:v>
                </c:pt>
              </c:numCache>
            </c:numRef>
          </c:xVal>
          <c:yVal>
            <c:numRef>
              <c:f>Sheet1!$B$2:$B$5</c:f>
              <c:numCache>
                <c:formatCode>General</c:formatCode>
                <c:ptCount val="4"/>
                <c:pt idx="0">
                  <c:v>1.304211287970882</c:v>
                </c:pt>
                <c:pt idx="1">
                  <c:v>0.75433326605627293</c:v>
                </c:pt>
                <c:pt idx="2">
                  <c:v>0.69597066291615362</c:v>
                </c:pt>
                <c:pt idx="3">
                  <c:v>1.0968043827293641</c:v>
                </c:pt>
              </c:numCache>
            </c:numRef>
          </c:yVal>
          <c:bubbleSize>
            <c:numRef>
              <c:f>Sheet1!$C$2:$C$5</c:f>
              <c:numCache>
                <c:formatCode>General</c:formatCode>
                <c:ptCount val="4"/>
                <c:pt idx="0">
                  <c:v>1213057</c:v>
                </c:pt>
                <c:pt idx="1">
                  <c:v>425556</c:v>
                </c:pt>
                <c:pt idx="2">
                  <c:v>410456</c:v>
                </c:pt>
                <c:pt idx="3">
                  <c:v>39683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06E0F-1974-44F5-9CB7-F3E860F87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60CEFFA-3DBB-4A87-81BE-49F4E50F8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2629F52-1A9C-4C0F-8BB3-98883C16B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1FC6AA-E909-4117-A182-F46B2C25A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780C36-6E9B-4C6B-818D-7DD09881E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CFE7B2-6F5C-4C98-B495-06C7C815D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345581-193E-405C-A63B-F96CAF44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3171C2-CF5F-4C74-9723-6DF69DF90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79200000000001</c:v>
                </c:pt>
              </c:numCache>
            </c:numRef>
          </c:xVal>
          <c:yVal>
            <c:numRef>
              <c:f>Sheet1!$B$2:$B$2</c:f>
              <c:numCache>
                <c:formatCode>General</c:formatCode>
                <c:ptCount val="1"/>
                <c:pt idx="0">
                  <c:v>1.547835373119782</c:v>
                </c:pt>
              </c:numCache>
            </c:numRef>
          </c:yVal>
          <c:bubbleSize>
            <c:numRef>
              <c:f>Sheet1!$C$2:$C$2</c:f>
              <c:numCache>
                <c:formatCode>General</c:formatCode>
                <c:ptCount val="1"/>
                <c:pt idx="0">
                  <c:v>67198</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6B4240-642F-402C-9913-99BC638EE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3C9D72-90C4-43FC-8EF3-D08213B2D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18C709-3CDA-44C8-9A0D-56EA8D65F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374A77-5DD9-4444-B353-14057B8F3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876626-313C-4761-9420-CEDAA4E5B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10CB9F-F61D-4B15-85FB-C9F5C2053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8B037F-82FA-40A8-99E0-744A60747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92B05B-F27E-41F1-B10F-25A0F245F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1163590507853</c:v>
                </c:pt>
                <c:pt idx="1">
                  <c:v>5.7416334955034642</c:v>
                </c:pt>
                <c:pt idx="2">
                  <c:v>7.072611844063089</c:v>
                </c:pt>
                <c:pt idx="3">
                  <c:v>9.7697620874904061</c:v>
                </c:pt>
                <c:pt idx="4">
                  <c:v>12.409822534048701</c:v>
                </c:pt>
                <c:pt idx="5">
                  <c:v>6.3567914438502671</c:v>
                </c:pt>
                <c:pt idx="6">
                  <c:v>11.68346650276583</c:v>
                </c:pt>
                <c:pt idx="7">
                  <c:v>5.4066366704161979</c:v>
                </c:pt>
              </c:numCache>
            </c:numRef>
          </c:xVal>
          <c:yVal>
            <c:numRef>
              <c:f>Sheet1!$B$2:$B$9</c:f>
              <c:numCache>
                <c:formatCode>General</c:formatCode>
                <c:ptCount val="8"/>
                <c:pt idx="0">
                  <c:v>1.0883357495474959</c:v>
                </c:pt>
                <c:pt idx="1">
                  <c:v>0.76433989512743383</c:v>
                </c:pt>
                <c:pt idx="2">
                  <c:v>1.397814160485473</c:v>
                </c:pt>
                <c:pt idx="3">
                  <c:v>1.322412406568275</c:v>
                </c:pt>
                <c:pt idx="4">
                  <c:v>1.6303453923798179</c:v>
                </c:pt>
                <c:pt idx="5">
                  <c:v>0.85826899827854219</c:v>
                </c:pt>
                <c:pt idx="6">
                  <c:v>1.672374349934552</c:v>
                </c:pt>
                <c:pt idx="7">
                  <c:v>0.71161264991199857</c:v>
                </c:pt>
              </c:numCache>
            </c:numRef>
          </c:yVal>
          <c:bubbleSize>
            <c:numRef>
              <c:f>Sheet1!$C$2:$C$9</c:f>
              <c:numCache>
                <c:formatCode>General</c:formatCode>
                <c:ptCount val="8"/>
                <c:pt idx="0">
                  <c:v>174663</c:v>
                </c:pt>
                <c:pt idx="1">
                  <c:v>77891</c:v>
                </c:pt>
                <c:pt idx="2">
                  <c:v>71299</c:v>
                </c:pt>
                <c:pt idx="3">
                  <c:v>63650</c:v>
                </c:pt>
                <c:pt idx="4">
                  <c:v>30069</c:v>
                </c:pt>
                <c:pt idx="5">
                  <c:v>29718</c:v>
                </c:pt>
                <c:pt idx="6">
                  <c:v>19009</c:v>
                </c:pt>
                <c:pt idx="7">
                  <c:v>961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C28C0A-1BFD-4E56-9BEA-C429C9CD9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592307-077B-420C-8DD8-68759388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DDB23C-5CE9-470A-880E-F40C266AC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D3B1AC-7E95-442D-9B97-452D28EA2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22EF73-5427-40E2-AAB1-533E46A18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93B092-CF5B-4C2C-892F-88C76835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D888C4-9914-4FB2-BBC9-8FF4F4CDA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49DE13-04E1-43E5-8424-A2074DA0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019537247842431</c:v>
                </c:pt>
                <c:pt idx="1">
                  <c:v>14.32145080946451</c:v>
                </c:pt>
              </c:numCache>
            </c:numRef>
          </c:xVal>
          <c:yVal>
            <c:numRef>
              <c:f>Sheet1!$B$2:$B$3</c:f>
              <c:numCache>
                <c:formatCode>General</c:formatCode>
                <c:ptCount val="2"/>
                <c:pt idx="0">
                  <c:v>1.594022031025105</c:v>
                </c:pt>
                <c:pt idx="1">
                  <c:v>0.47465962139050799</c:v>
                </c:pt>
              </c:numCache>
            </c:numRef>
          </c:yVal>
          <c:bubbleSize>
            <c:numRef>
              <c:f>Sheet1!$C$2:$C$3</c:f>
              <c:numCache>
                <c:formatCode>General</c:formatCode>
                <c:ptCount val="2"/>
                <c:pt idx="0">
                  <c:v>264787</c:v>
                </c:pt>
                <c:pt idx="1">
                  <c:v>92001</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495BA3-B800-4508-A8AF-1B81BBCA5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6C7D2A-F6F5-4407-82AA-C311A2D26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5C1DAFA-FFB9-4D96-B9AD-71189D8E7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4FD7DAB-599D-4995-87A9-32379E82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8866AF-39A2-4FBE-AB89-C3CF7A2B9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8B88075-B157-4E3B-8E67-52AA739F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19C7D9-57AF-4BAD-BBD0-58EA7488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3F486D-003E-47A9-A2BF-951D0F9B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72118499492029</c:v>
                </c:pt>
                <c:pt idx="1">
                  <c:v>9.9853230093609149</c:v>
                </c:pt>
              </c:numCache>
            </c:numRef>
          </c:xVal>
          <c:yVal>
            <c:numRef>
              <c:f>Sheet1!$B$2:$B$3</c:f>
              <c:numCache>
                <c:formatCode>General</c:formatCode>
                <c:ptCount val="2"/>
                <c:pt idx="0">
                  <c:v>1.001882478579462</c:v>
                </c:pt>
                <c:pt idx="1">
                  <c:v>1.0667778745216301</c:v>
                </c:pt>
              </c:numCache>
            </c:numRef>
          </c:yVal>
          <c:bubbleSize>
            <c:numRef>
              <c:f>Sheet1!$C$2:$C$3</c:f>
              <c:numCache>
                <c:formatCode>General</c:formatCode>
                <c:ptCount val="2"/>
                <c:pt idx="0">
                  <c:v>2227015</c:v>
                </c:pt>
                <c:pt idx="1">
                  <c:v>8640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FAD1A5-42C6-47F6-A361-3C5CC19D6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77D03F-3F33-46AF-BB1C-8F634CD46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57FC32-4F99-45F4-A39A-7B1C3BC84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654C82-91DF-4B60-9D2C-80366C2F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427233-BB37-4BCE-B2B4-FF8DF212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13BFBD-3848-48D6-922C-1CD503C74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B9FCBD-A149-4BFF-9514-AA917B986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6D14F5-A0FC-4C51-A990-46184F4E9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733662177013311</c:v>
                </c:pt>
                <c:pt idx="1">
                  <c:v>7.9325576844389891</c:v>
                </c:pt>
                <c:pt idx="2">
                  <c:v>13.5013698630137</c:v>
                </c:pt>
              </c:numCache>
            </c:numRef>
          </c:xVal>
          <c:yVal>
            <c:numRef>
              <c:f>Sheet1!$B$2:$B$4</c:f>
              <c:numCache>
                <c:formatCode>General</c:formatCode>
                <c:ptCount val="3"/>
                <c:pt idx="0">
                  <c:v>1.728349967677516</c:v>
                </c:pt>
                <c:pt idx="1">
                  <c:v>0.63673936198377878</c:v>
                </c:pt>
                <c:pt idx="2">
                  <c:v>0.77117140004686968</c:v>
                </c:pt>
              </c:numCache>
            </c:numRef>
          </c:yVal>
          <c:bubbleSize>
            <c:numRef>
              <c:f>Sheet1!$C$2:$C$4</c:f>
              <c:numCache>
                <c:formatCode>General</c:formatCode>
                <c:ptCount val="3"/>
                <c:pt idx="0">
                  <c:v>693865</c:v>
                </c:pt>
                <c:pt idx="1">
                  <c:v>445897</c:v>
                </c:pt>
                <c:pt idx="2">
                  <c:v>128128</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D73008-856B-4E0C-80B5-6E27966E3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9FCCC6-34A7-4409-98B4-D8FDB8232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4B6A7A-8550-4CCC-9281-DA20C3694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A18212-87CF-4781-A4A9-5E3A29CC2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3D52628-9B61-45F9-92AE-C5B57C588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DFCFE44-CB3E-4214-BF09-8BCAD6AD5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D6D0C5-1559-4F16-889F-C3E3A87C4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4D4BFA-34C4-495D-A6FD-4537324B0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871706347913889</c:v>
                </c:pt>
                <c:pt idx="1">
                  <c:v>12.015577916487301</c:v>
                </c:pt>
                <c:pt idx="2">
                  <c:v>14.99467652244677</c:v>
                </c:pt>
                <c:pt idx="3">
                  <c:v>12.471323805942079</c:v>
                </c:pt>
              </c:numCache>
            </c:numRef>
          </c:xVal>
          <c:yVal>
            <c:numRef>
              <c:f>Sheet1!$B$2:$B$5</c:f>
              <c:numCache>
                <c:formatCode>General</c:formatCode>
                <c:ptCount val="4"/>
                <c:pt idx="0">
                  <c:v>1.3010877191818371</c:v>
                </c:pt>
                <c:pt idx="1">
                  <c:v>0.76999417221606159</c:v>
                </c:pt>
                <c:pt idx="2">
                  <c:v>1.0716997441779941</c:v>
                </c:pt>
                <c:pt idx="3">
                  <c:v>0.70788465380772314</c:v>
                </c:pt>
              </c:numCache>
            </c:numRef>
          </c:yVal>
          <c:bubbleSize>
            <c:numRef>
              <c:f>Sheet1!$C$2:$C$5</c:f>
              <c:numCache>
                <c:formatCode>General</c:formatCode>
                <c:ptCount val="4"/>
                <c:pt idx="0">
                  <c:v>1158836</c:v>
                </c:pt>
                <c:pt idx="1">
                  <c:v>446595</c:v>
                </c:pt>
                <c:pt idx="2">
                  <c:v>442223</c:v>
                </c:pt>
                <c:pt idx="3">
                  <c:v>39793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2FC6E-DADE-4964-A32B-1122E8BB5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162BB29-77C1-440D-B283-F2680BAB1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F467E98-A324-4517-911B-4FD107A74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1D0F248-1257-4026-A972-340A407BD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95B5DA-AAC0-4222-9903-F2726AE48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6D5291A-2992-4C77-95ED-05ABBA562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AC11A5-7CC7-4CD6-823D-370F673CA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8E0480-5CBB-4F30-875B-E597B60EA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8.961103573043872</c:v>
                </c:pt>
              </c:numCache>
            </c:numRef>
          </c:xVal>
          <c:yVal>
            <c:numRef>
              <c:f>Sheet1!$B$2:$B$2</c:f>
              <c:numCache>
                <c:formatCode>General</c:formatCode>
                <c:ptCount val="1"/>
                <c:pt idx="0">
                  <c:v>1.470098407040497</c:v>
                </c:pt>
              </c:numCache>
            </c:numRef>
          </c:yVal>
          <c:bubbleSize>
            <c:numRef>
              <c:f>Sheet1!$C$2:$C$2</c:f>
              <c:numCache>
                <c:formatCode>General</c:formatCode>
                <c:ptCount val="1"/>
                <c:pt idx="0">
                  <c:v>64033</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633E02-9219-4A96-B1E5-55E3D8915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0A46CB-9925-4FA5-B890-820303868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26B5AE-37F7-4602-A85A-8BA1B26D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F4E562-47A3-4AFF-B0CE-871197341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C3F028-C698-4E6F-8544-8EC5B0AA6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18B90C-9DEE-49CA-B14E-8F145F9F2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2B86EA-8F62-4AC0-B1C6-D3CF2FD1A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E32F78-C5FD-4074-B61E-9E693060B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811133260412525</c:v>
                </c:pt>
                <c:pt idx="1">
                  <c:v>4.2737128518216503</c:v>
                </c:pt>
                <c:pt idx="2">
                  <c:v>6.2499349141010772</c:v>
                </c:pt>
                <c:pt idx="3">
                  <c:v>10.692847277157369</c:v>
                </c:pt>
                <c:pt idx="4">
                  <c:v>10.12779756212444</c:v>
                </c:pt>
                <c:pt idx="5">
                  <c:v>12.31362771705801</c:v>
                </c:pt>
                <c:pt idx="6">
                  <c:v>10.353334216197339</c:v>
                </c:pt>
                <c:pt idx="7">
                  <c:v>3.768841933464659</c:v>
                </c:pt>
                <c:pt idx="8">
                  <c:v>6.7630703186856689</c:v>
                </c:pt>
              </c:numCache>
            </c:numRef>
          </c:xVal>
          <c:yVal>
            <c:numRef>
              <c:f>Sheet1!$B$2:$B$10</c:f>
              <c:numCache>
                <c:formatCode>General</c:formatCode>
                <c:ptCount val="9"/>
                <c:pt idx="0">
                  <c:v>1.6355285444609671</c:v>
                </c:pt>
                <c:pt idx="1">
                  <c:v>0.62039127844055664</c:v>
                </c:pt>
                <c:pt idx="2">
                  <c:v>1.0277870605738719</c:v>
                </c:pt>
                <c:pt idx="3">
                  <c:v>1.833362922882956</c:v>
                </c:pt>
                <c:pt idx="4">
                  <c:v>1.968030648670374</c:v>
                </c:pt>
                <c:pt idx="5">
                  <c:v>2.4315533640301159</c:v>
                </c:pt>
                <c:pt idx="6">
                  <c:v>1.62711702844569</c:v>
                </c:pt>
                <c:pt idx="7">
                  <c:v>0.17208905368774111</c:v>
                </c:pt>
                <c:pt idx="8">
                  <c:v>0.87049255592431918</c:v>
                </c:pt>
              </c:numCache>
            </c:numRef>
          </c:yVal>
          <c:bubbleSize>
            <c:numRef>
              <c:f>Sheet1!$C$2:$C$10</c:f>
              <c:numCache>
                <c:formatCode>General</c:formatCode>
                <c:ptCount val="9"/>
                <c:pt idx="0">
                  <c:v>26472743</c:v>
                </c:pt>
                <c:pt idx="1">
                  <c:v>8684317</c:v>
                </c:pt>
                <c:pt idx="2">
                  <c:v>8642335</c:v>
                </c:pt>
                <c:pt idx="3">
                  <c:v>5906932</c:v>
                </c:pt>
                <c:pt idx="4">
                  <c:v>5676509</c:v>
                </c:pt>
                <c:pt idx="5">
                  <c:v>5521640</c:v>
                </c:pt>
                <c:pt idx="6">
                  <c:v>4299895</c:v>
                </c:pt>
                <c:pt idx="7">
                  <c:v>3112826</c:v>
                </c:pt>
                <c:pt idx="8">
                  <c:v>109334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Hydro Silk</c:v>
                  </c:pt>
                  <c:pt idx="5">
                    <c:v>Intuition</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36A659-0C60-4016-B1DD-91AE6060B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3CA965-F0A1-40BC-B871-4D33DDD07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7833F4-0199-4BFB-9E63-E2989D140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8714E0-621F-428D-BEA6-F2A5059D9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2477DC-BED3-4AC7-9A21-432701CF1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A2B614-649B-4B4F-B4A7-79112C1D6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94B4FD-980E-44A4-875C-1DE220B88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D32D72-3D1C-4688-AD56-7EF99F3E4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439153711520641</c:v>
                </c:pt>
                <c:pt idx="1">
                  <c:v>6.1281015153381793</c:v>
                </c:pt>
                <c:pt idx="2">
                  <c:v>9.7968122691504735</c:v>
                </c:pt>
                <c:pt idx="3">
                  <c:v>7.3061802922663528</c:v>
                </c:pt>
                <c:pt idx="4">
                  <c:v>12.625674800259119</c:v>
                </c:pt>
                <c:pt idx="5">
                  <c:v>6.6671664167916038</c:v>
                </c:pt>
                <c:pt idx="6">
                  <c:v>12.41799676150821</c:v>
                </c:pt>
                <c:pt idx="7">
                  <c:v>5.3788046049519007</c:v>
                </c:pt>
              </c:numCache>
            </c:numRef>
          </c:xVal>
          <c:yVal>
            <c:numRef>
              <c:f>Sheet1!$B$2:$B$9</c:f>
              <c:numCache>
                <c:formatCode>General</c:formatCode>
                <c:ptCount val="8"/>
                <c:pt idx="0">
                  <c:v>1.1264875092051709</c:v>
                </c:pt>
                <c:pt idx="1">
                  <c:v>0.77769717986367626</c:v>
                </c:pt>
                <c:pt idx="2">
                  <c:v>1.274796404979649</c:v>
                </c:pt>
                <c:pt idx="3">
                  <c:v>1.386579870590261</c:v>
                </c:pt>
                <c:pt idx="4">
                  <c:v>1.596960839749193</c:v>
                </c:pt>
                <c:pt idx="5">
                  <c:v>0.86959970579497858</c:v>
                </c:pt>
                <c:pt idx="6">
                  <c:v>1.6602126495477629</c:v>
                </c:pt>
                <c:pt idx="7">
                  <c:v>0.68045407615585796</c:v>
                </c:pt>
              </c:numCache>
            </c:numRef>
          </c:yVal>
          <c:bubbleSize>
            <c:numRef>
              <c:f>Sheet1!$C$2:$C$9</c:f>
              <c:numCache>
                <c:formatCode>General</c:formatCode>
                <c:ptCount val="8"/>
                <c:pt idx="0">
                  <c:v>608373</c:v>
                </c:pt>
                <c:pt idx="1">
                  <c:v>248709</c:v>
                </c:pt>
                <c:pt idx="2">
                  <c:v>244019</c:v>
                </c:pt>
                <c:pt idx="3">
                  <c:v>198487</c:v>
                </c:pt>
                <c:pt idx="4">
                  <c:v>116939</c:v>
                </c:pt>
                <c:pt idx="5">
                  <c:v>84493</c:v>
                </c:pt>
                <c:pt idx="6">
                  <c:v>53683</c:v>
                </c:pt>
                <c:pt idx="7">
                  <c:v>34107</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B80906-749F-4FF0-A3C6-BE0DCD877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507EE7-26B3-481C-8BCA-46EF2C209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9DDC45F-5AFC-403C-B476-97C170F3D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2BA82C2-87B9-4DA3-B7CA-21B608E34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2C0DD3-96B3-4C52-ADCA-1E26990EB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DFCE70-AD78-4FF1-8C24-027C8CA66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627615-1E75-43F1-AA32-48B2ADF23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5BAD29-0299-46F8-B4E8-E8CD9745B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841638116201869</c:v>
                </c:pt>
                <c:pt idx="1">
                  <c:v>14.96215403435445</c:v>
                </c:pt>
              </c:numCache>
            </c:numRef>
          </c:xVal>
          <c:yVal>
            <c:numRef>
              <c:f>Sheet1!$B$2:$B$3</c:f>
              <c:numCache>
                <c:formatCode>General</c:formatCode>
                <c:ptCount val="2"/>
                <c:pt idx="0">
                  <c:v>2.0561068474168578</c:v>
                </c:pt>
                <c:pt idx="1">
                  <c:v>0.55082133025417712</c:v>
                </c:pt>
              </c:numCache>
            </c:numRef>
          </c:yVal>
          <c:bubbleSize>
            <c:numRef>
              <c:f>Sheet1!$C$2:$C$3</c:f>
              <c:numCache>
                <c:formatCode>General</c:formatCode>
                <c:ptCount val="2"/>
                <c:pt idx="0">
                  <c:v>892407</c:v>
                </c:pt>
                <c:pt idx="1">
                  <c:v>58708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10C22-D6C5-4037-92FD-0CD0DF4B7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42D073-826A-4140-8DDA-4BA109611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9D17EC1-7A39-44A4-99A2-27416D7EF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A55A2A-AA96-4A98-88B6-EB8688E3F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D6B69ED-5BAC-476B-A7B1-205975F4E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0FEFBD-BAE9-4702-96BB-0BFCF6D37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992CB2-6D0D-4DF1-B49F-549C22D2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2A2F32-F158-42AB-AA7C-22A89EDBD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514359317746409</c:v>
                </c:pt>
                <c:pt idx="1">
                  <c:v>10.16124428179323</c:v>
                </c:pt>
              </c:numCache>
            </c:numRef>
          </c:xVal>
          <c:yVal>
            <c:numRef>
              <c:f>Sheet1!$B$2:$B$3</c:f>
              <c:numCache>
                <c:formatCode>General</c:formatCode>
                <c:ptCount val="2"/>
                <c:pt idx="0">
                  <c:v>1.0020268924552991</c:v>
                </c:pt>
                <c:pt idx="1">
                  <c:v>0.96182237428624662</c:v>
                </c:pt>
              </c:numCache>
            </c:numRef>
          </c:yVal>
          <c:bubbleSize>
            <c:numRef>
              <c:f>Sheet1!$C$2:$C$3</c:f>
              <c:numCache>
                <c:formatCode>General</c:formatCode>
                <c:ptCount val="2"/>
                <c:pt idx="0">
                  <c:v>9419333</c:v>
                </c:pt>
                <c:pt idx="1">
                  <c:v>277656</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8E7982-7DF3-4588-B2E7-9A5D4D365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F43ED6-8F52-4283-9F2F-CE79AAC74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A8B761-24EC-4187-A146-F9C38F885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7C433CF-6C98-4693-856E-E8B45395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F37AC4-F1B8-483D-94D8-AA48B0106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0487C1-4668-4F93-ACE4-68A1E70AE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F79546-0804-4C7E-87FD-5BAE2032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856879-2F84-45AB-A881-EE3E4C4E7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587085087111731</c:v>
                </c:pt>
                <c:pt idx="1">
                  <c:v>8.4305620911064221</c:v>
                </c:pt>
                <c:pt idx="2">
                  <c:v>14.132461569175479</c:v>
                </c:pt>
              </c:numCache>
            </c:numRef>
          </c:xVal>
          <c:yVal>
            <c:numRef>
              <c:f>Sheet1!$B$2:$B$4</c:f>
              <c:numCache>
                <c:formatCode>General</c:formatCode>
                <c:ptCount val="3"/>
                <c:pt idx="0">
                  <c:v>1.484406104108428</c:v>
                </c:pt>
                <c:pt idx="1">
                  <c:v>0.57440576041323743</c:v>
                </c:pt>
                <c:pt idx="2">
                  <c:v>0.68810201404403248</c:v>
                </c:pt>
              </c:numCache>
            </c:numRef>
          </c:yVal>
          <c:bubbleSize>
            <c:numRef>
              <c:f>Sheet1!$C$2:$C$4</c:f>
              <c:numCache>
                <c:formatCode>General</c:formatCode>
                <c:ptCount val="3"/>
                <c:pt idx="0">
                  <c:v>3308670</c:v>
                </c:pt>
                <c:pt idx="1">
                  <c:v>1110794</c:v>
                </c:pt>
                <c:pt idx="2">
                  <c:v>566316</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9F401B-B6FD-41ED-A644-F33150B40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F3DDE8-FE70-493C-8FEA-45305BD5E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13C666-8214-4313-BA65-30BD1EC91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7390D7-C4F3-413B-86F6-0094EC496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35D22F-57F1-430A-A055-DD2067CC8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9AED85-1AE3-4FDD-95B3-0283892D1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39AE1D-4493-4578-8739-A4150433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A7F821-011E-43E0-9797-51BBD1EAB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83645165122357</c:v>
                </c:pt>
                <c:pt idx="1">
                  <c:v>13.10289660654842</c:v>
                </c:pt>
                <c:pt idx="2">
                  <c:v>12.41766563680055</c:v>
                </c:pt>
                <c:pt idx="3">
                  <c:v>15.984081709498261</c:v>
                </c:pt>
              </c:numCache>
            </c:numRef>
          </c:xVal>
          <c:yVal>
            <c:numRef>
              <c:f>Sheet1!$B$2:$B$5</c:f>
              <c:numCache>
                <c:formatCode>General</c:formatCode>
                <c:ptCount val="4"/>
                <c:pt idx="0">
                  <c:v>1.285758789390413</c:v>
                </c:pt>
                <c:pt idx="1">
                  <c:v>0.68302594019328433</c:v>
                </c:pt>
                <c:pt idx="2">
                  <c:v>0.7272050847476903</c:v>
                </c:pt>
                <c:pt idx="3">
                  <c:v>1.0842394532399531</c:v>
                </c:pt>
              </c:numCache>
            </c:numRef>
          </c:yVal>
          <c:bubbleSize>
            <c:numRef>
              <c:f>Sheet1!$C$2:$C$5</c:f>
              <c:numCache>
                <c:formatCode>General</c:formatCode>
                <c:ptCount val="4"/>
                <c:pt idx="0">
                  <c:v>6314445</c:v>
                </c:pt>
                <c:pt idx="1">
                  <c:v>1846054</c:v>
                </c:pt>
                <c:pt idx="2">
                  <c:v>1808633</c:v>
                </c:pt>
                <c:pt idx="3">
                  <c:v>1697989</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9F7D67-E0FA-4397-9839-CAFB9332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CE8116-6981-40AB-AD8D-B43A3587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592B0E-97AD-477E-A601-71027F6BD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76CF281-598E-44E5-8D9D-3CAFC9C50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992406-CDC7-4FCD-AA61-A05193F8D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33FE4F-51FD-493B-95DE-744F1996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A34589-46A2-432C-B26E-68FC3F206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4F7518-6131-47EB-BC87-DF005E7F6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116480346195459</c:v>
                </c:pt>
              </c:numCache>
            </c:numRef>
          </c:xVal>
          <c:yVal>
            <c:numRef>
              <c:f>Sheet1!$B$2:$B$2</c:f>
              <c:numCache>
                <c:formatCode>General</c:formatCode>
                <c:ptCount val="1"/>
                <c:pt idx="0">
                  <c:v>1.3479715207721381</c:v>
                </c:pt>
              </c:numCache>
            </c:numRef>
          </c:yVal>
          <c:bubbleSize>
            <c:numRef>
              <c:f>Sheet1!$C$2:$C$2</c:f>
              <c:numCache>
                <c:formatCode>General</c:formatCode>
                <c:ptCount val="1"/>
                <c:pt idx="0">
                  <c:v>267500</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8A798E-6FAE-4051-BDA1-8D7264C98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80ACDA-EB11-48E4-B04B-41B997FBB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CD1E11-DFD7-48AC-9769-0E110B0A9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7D74AD-49CC-4DC7-9153-E6B1CE38C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9A4929-8D25-43A7-83A3-CB60CEB2D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B76BA8-FAFC-406A-9DBA-FB4577EFE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43F5D3-0FF6-4241-A580-73D1F759E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953D18-FF97-4711-A299-AAB874144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13788262995829</c:v>
                </c:pt>
                <c:pt idx="1">
                  <c:v>7.021989602360545</c:v>
                </c:pt>
                <c:pt idx="2">
                  <c:v>5.7667007798990717</c:v>
                </c:pt>
                <c:pt idx="3">
                  <c:v>9.506948204295254</c:v>
                </c:pt>
                <c:pt idx="4">
                  <c:v>12.274830606511321</c:v>
                </c:pt>
                <c:pt idx="5">
                  <c:v>6.3912929794744411</c:v>
                </c:pt>
                <c:pt idx="6">
                  <c:v>11.804516584333101</c:v>
                </c:pt>
                <c:pt idx="7">
                  <c:v>5.3111763472426086</c:v>
                </c:pt>
              </c:numCache>
            </c:numRef>
          </c:xVal>
          <c:yVal>
            <c:numRef>
              <c:f>Sheet1!$B$2:$B$9</c:f>
              <c:numCache>
                <c:formatCode>General</c:formatCode>
                <c:ptCount val="8"/>
                <c:pt idx="0">
                  <c:v>1.0860740377539291</c:v>
                </c:pt>
                <c:pt idx="1">
                  <c:v>1.3980185879869731</c:v>
                </c:pt>
                <c:pt idx="2">
                  <c:v>0.77442150437924007</c:v>
                </c:pt>
                <c:pt idx="3">
                  <c:v>1.3000891554530121</c:v>
                </c:pt>
                <c:pt idx="4">
                  <c:v>1.628986137695257</c:v>
                </c:pt>
                <c:pt idx="5">
                  <c:v>0.86744197617017504</c:v>
                </c:pt>
                <c:pt idx="6">
                  <c:v>1.6862914868468879</c:v>
                </c:pt>
                <c:pt idx="7">
                  <c:v>0.70453462641685161</c:v>
                </c:pt>
              </c:numCache>
            </c:numRef>
          </c:yVal>
          <c:bubbleSize>
            <c:numRef>
              <c:f>Sheet1!$C$2:$C$9</c:f>
              <c:numCache>
                <c:formatCode>General</c:formatCode>
                <c:ptCount val="8"/>
                <c:pt idx="0">
                  <c:v>442289</c:v>
                </c:pt>
                <c:pt idx="1">
                  <c:v>199902</c:v>
                </c:pt>
                <c:pt idx="2">
                  <c:v>163411</c:v>
                </c:pt>
                <c:pt idx="3">
                  <c:v>158034</c:v>
                </c:pt>
                <c:pt idx="4">
                  <c:v>74275</c:v>
                </c:pt>
                <c:pt idx="5">
                  <c:v>48887</c:v>
                </c:pt>
                <c:pt idx="6">
                  <c:v>33454</c:v>
                </c:pt>
                <c:pt idx="7">
                  <c:v>25329</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23FB20-6875-4A14-A9DC-AE292D907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E1800A-0AF3-411F-9812-9F1731141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2517762-F49B-4B97-9D99-E0FD7FDD7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0D1F66-1B25-4F9E-A231-9F222F055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F7EC02-C75A-4F8C-BE0C-874721DA7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96C50D-F4BD-4D2F-BDD6-FF8F9795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09E828-3DCB-48A9-BF47-3A1011C5D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5ACDB1-1FA6-4327-AD41-F9CE4518A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00078340038111</c:v>
                </c:pt>
                <c:pt idx="1">
                  <c:v>13.97784791965567</c:v>
                </c:pt>
              </c:numCache>
            </c:numRef>
          </c:xVal>
          <c:yVal>
            <c:numRef>
              <c:f>Sheet1!$B$2:$B$3</c:f>
              <c:numCache>
                <c:formatCode>General</c:formatCode>
                <c:ptCount val="2"/>
                <c:pt idx="0">
                  <c:v>1.6636005197038619</c:v>
                </c:pt>
                <c:pt idx="1">
                  <c:v>0.48023866149765482</c:v>
                </c:pt>
              </c:numCache>
            </c:numRef>
          </c:yVal>
          <c:bubbleSize>
            <c:numRef>
              <c:f>Sheet1!$C$2:$C$3</c:f>
              <c:numCache>
                <c:formatCode>General</c:formatCode>
                <c:ptCount val="2"/>
                <c:pt idx="0">
                  <c:v>661257</c:v>
                </c:pt>
                <c:pt idx="1">
                  <c:v>243564</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6F9A0C-CCE0-4D05-887D-0DF7307AC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E636A3-1514-4AB1-A0D5-50F02531E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41264FA-C5F3-4F4E-B567-2320DC51E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4B85F2-BBEA-47A2-B68E-B4234B69E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E93E84-4804-4389-A243-A1B4B1810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B38133-8DCC-4515-BBA2-AF00C4FF4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B8B898-2807-4DDF-BE7E-34E0117D5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A5645C-1B75-4996-AE87-484071CC1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2383358162621</c:v>
                </c:pt>
                <c:pt idx="1">
                  <c:v>9.892648512626943</c:v>
                </c:pt>
              </c:numCache>
            </c:numRef>
          </c:xVal>
          <c:yVal>
            <c:numRef>
              <c:f>Sheet1!$B$2:$B$3</c:f>
              <c:numCache>
                <c:formatCode>General</c:formatCode>
                <c:ptCount val="2"/>
                <c:pt idx="0">
                  <c:v>1.002522947192626</c:v>
                </c:pt>
                <c:pt idx="1">
                  <c:v>1.050319234187209</c:v>
                </c:pt>
              </c:numCache>
            </c:numRef>
          </c:yVal>
          <c:bubbleSize>
            <c:numRef>
              <c:f>Sheet1!$C$2:$C$3</c:f>
              <c:numCache>
                <c:formatCode>General</c:formatCode>
                <c:ptCount val="2"/>
                <c:pt idx="0">
                  <c:v>5869020</c:v>
                </c:pt>
                <c:pt idx="1">
                  <c:v>2201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870BB4-AAD8-4695-B7BD-25BA563B4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5B6FDF-FCA6-4DCB-9D0F-525F79BF1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DC5A12-A1E4-4CF3-AE27-10E1D035D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1FE296-A33D-41FF-B6A6-99C463BB3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8A673E-232E-4B3B-B157-2137998E6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939EAA-5453-4E85-82A8-7DA049EEB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B5D6285-7EC0-4920-BAED-5E4603FAE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402136-94F5-433B-AA57-E5480743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000555963703508</c:v>
                </c:pt>
                <c:pt idx="1">
                  <c:v>8.0350944573801577</c:v>
                </c:pt>
                <c:pt idx="2">
                  <c:v>13.079059639143191</c:v>
                </c:pt>
              </c:numCache>
            </c:numRef>
          </c:xVal>
          <c:yVal>
            <c:numRef>
              <c:f>Sheet1!$B$2:$B$4</c:f>
              <c:numCache>
                <c:formatCode>General</c:formatCode>
                <c:ptCount val="3"/>
                <c:pt idx="0">
                  <c:v>1.6871222696912791</c:v>
                </c:pt>
                <c:pt idx="1">
                  <c:v>0.62569821146695159</c:v>
                </c:pt>
                <c:pt idx="2">
                  <c:v>0.75388306720707554</c:v>
                </c:pt>
              </c:numCache>
            </c:numRef>
          </c:yVal>
          <c:bubbleSize>
            <c:numRef>
              <c:f>Sheet1!$C$2:$C$4</c:f>
              <c:numCache>
                <c:formatCode>General</c:formatCode>
                <c:ptCount val="3"/>
                <c:pt idx="0">
                  <c:v>1712398</c:v>
                </c:pt>
                <c:pt idx="1">
                  <c:v>1004202</c:v>
                </c:pt>
                <c:pt idx="2">
                  <c:v>294305</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5AF80F-AC0A-47F5-A662-14B4A87C7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49106F-77B3-497A-88F9-EEFE5A662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398658-AC8A-45B3-ADD4-12D024875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0EEE0C-33E0-405B-836D-A159A5486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0A80F-20AD-47A2-94B5-A6ACAEDB3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40B78A-C01A-4A1D-9AEE-25D10BDB3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5D0813-30E0-4B1D-ABD7-257F83ED9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0C6018-8D8C-4B4C-8C37-0AFAF8113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124500126075549</c:v>
                </c:pt>
                <c:pt idx="1">
                  <c:v>6.192885894698029</c:v>
                </c:pt>
                <c:pt idx="2">
                  <c:v>4.2209751418579824</c:v>
                </c:pt>
                <c:pt idx="3">
                  <c:v>9.9382211839532992</c:v>
                </c:pt>
                <c:pt idx="4">
                  <c:v>10.684905724171349</c:v>
                </c:pt>
                <c:pt idx="5">
                  <c:v>12.19949326962568</c:v>
                </c:pt>
                <c:pt idx="6">
                  <c:v>10.4084069261383</c:v>
                </c:pt>
                <c:pt idx="7">
                  <c:v>3.7614696262722731</c:v>
                </c:pt>
                <c:pt idx="8">
                  <c:v>5.405395246474078</c:v>
                </c:pt>
              </c:numCache>
            </c:numRef>
          </c:xVal>
          <c:yVal>
            <c:numRef>
              <c:f>Sheet1!$B$2:$B$10</c:f>
              <c:numCache>
                <c:formatCode>General</c:formatCode>
                <c:ptCount val="9"/>
                <c:pt idx="0">
                  <c:v>1.673544854027845</c:v>
                </c:pt>
                <c:pt idx="1">
                  <c:v>1.0470673317135939</c:v>
                </c:pt>
                <c:pt idx="2">
                  <c:v>0.63369089093332787</c:v>
                </c:pt>
                <c:pt idx="3">
                  <c:v>1.976654810235245</c:v>
                </c:pt>
                <c:pt idx="4">
                  <c:v>1.8974195047940801</c:v>
                </c:pt>
                <c:pt idx="5">
                  <c:v>2.4876314554036791</c:v>
                </c:pt>
                <c:pt idx="6">
                  <c:v>1.676543060370663</c:v>
                </c:pt>
                <c:pt idx="7">
                  <c:v>0.17822624582035021</c:v>
                </c:pt>
                <c:pt idx="8">
                  <c:v>1.1312264914585251</c:v>
                </c:pt>
              </c:numCache>
            </c:numRef>
          </c:yVal>
          <c:bubbleSize>
            <c:numRef>
              <c:f>Sheet1!$C$2:$C$10</c:f>
              <c:numCache>
                <c:formatCode>General</c:formatCode>
                <c:ptCount val="9"/>
                <c:pt idx="0">
                  <c:v>23063680</c:v>
                </c:pt>
                <c:pt idx="1">
                  <c:v>8061775</c:v>
                </c:pt>
                <c:pt idx="2">
                  <c:v>7467745</c:v>
                </c:pt>
                <c:pt idx="3">
                  <c:v>5475135</c:v>
                </c:pt>
                <c:pt idx="4">
                  <c:v>4740305</c:v>
                </c:pt>
                <c:pt idx="5">
                  <c:v>4217926</c:v>
                </c:pt>
                <c:pt idx="6">
                  <c:v>3690207</c:v>
                </c:pt>
                <c:pt idx="7">
                  <c:v>3040757</c:v>
                </c:pt>
                <c:pt idx="8">
                  <c:v>99226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56D5BB-818E-4470-9C28-421DACE5B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BE3CA6-90AC-4B6B-B287-0429C18F6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9E34A9-5A8D-4E08-B864-33AD60FE9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3931ED-DC76-4CEF-832E-C3D21FE9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7001D4-1F63-4396-9770-6C247022E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2FA2D2-6C6A-4D15-BF91-80E76E2E0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12D948-57E2-46DA-B967-D1A6721B0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3D16D7-426D-4B41-90BA-20D46FCC2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337146285503309</c:v>
                </c:pt>
                <c:pt idx="1">
                  <c:v>11.940413287993721</c:v>
                </c:pt>
                <c:pt idx="2">
                  <c:v>14.99182525573398</c:v>
                </c:pt>
                <c:pt idx="3">
                  <c:v>12.42377047155596</c:v>
                </c:pt>
              </c:numCache>
            </c:numRef>
          </c:xVal>
          <c:yVal>
            <c:numRef>
              <c:f>Sheet1!$B$2:$B$5</c:f>
              <c:numCache>
                <c:formatCode>General</c:formatCode>
                <c:ptCount val="4"/>
                <c:pt idx="0">
                  <c:v>1.300220235738518</c:v>
                </c:pt>
                <c:pt idx="1">
                  <c:v>0.76989892653273095</c:v>
                </c:pt>
                <c:pt idx="2">
                  <c:v>1.0792255575338789</c:v>
                </c:pt>
                <c:pt idx="3">
                  <c:v>0.72785593640543245</c:v>
                </c:pt>
              </c:numCache>
            </c:numRef>
          </c:yVal>
          <c:bubbleSize>
            <c:numRef>
              <c:f>Sheet1!$C$2:$C$5</c:f>
              <c:numCache>
                <c:formatCode>General</c:formatCode>
                <c:ptCount val="4"/>
                <c:pt idx="0">
                  <c:v>2781305</c:v>
                </c:pt>
                <c:pt idx="1">
                  <c:v>1141205</c:v>
                </c:pt>
                <c:pt idx="2">
                  <c:v>1028829</c:v>
                </c:pt>
                <c:pt idx="3">
                  <c:v>100590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CC792F-1E9C-46E5-B26A-335DF4A20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B324A6E-43FF-482C-B4F3-12C7A31F1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843DB98-9C6A-4D4C-84B5-B1414059B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D5B9EA-A34B-4E2C-BB74-4A028437A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D62121-CBD6-4720-9BFA-062790F0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A7C5E24-BCF9-4436-812C-DDA420E9C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DC7898-B0D3-4D81-BEAC-9C9B4726F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20D5AC-5636-43B5-A129-75FB68DC1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957365480740961</c:v>
                </c:pt>
              </c:numCache>
            </c:numRef>
          </c:xVal>
          <c:yVal>
            <c:numRef>
              <c:f>Sheet1!$B$2:$B$2</c:f>
              <c:numCache>
                <c:formatCode>General</c:formatCode>
                <c:ptCount val="1"/>
                <c:pt idx="0">
                  <c:v>1.388420760089399</c:v>
                </c:pt>
              </c:numCache>
            </c:numRef>
          </c:yVal>
          <c:bubbleSize>
            <c:numRef>
              <c:f>Sheet1!$C$2:$C$2</c:f>
              <c:numCache>
                <c:formatCode>General</c:formatCode>
                <c:ptCount val="1"/>
                <c:pt idx="0">
                  <c:v>183364</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359462-0D4B-481E-A744-50E61EA0E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F7830D-03C4-4ACF-8717-4AF4B1B93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233925-CDA5-437A-A2F2-4EDC035E7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6834D5-8B7C-406A-B961-25D1AAE3C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69D76C-EDA1-49F2-8026-0F9D87EBF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E80D29-AE7A-4D49-ADFF-145A13FB5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7AE3D1-7D1E-4D3A-8D76-33A4B2B21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C5E577-05BB-4F05-8041-A0A708F9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651445295273227</c:v>
                </c:pt>
                <c:pt idx="1">
                  <c:v>7.0626189143816456</c:v>
                </c:pt>
                <c:pt idx="2">
                  <c:v>5.7719676820394437</c:v>
                </c:pt>
                <c:pt idx="3">
                  <c:v>9.5544486430779809</c:v>
                </c:pt>
                <c:pt idx="4">
                  <c:v>6.3617021276595747</c:v>
                </c:pt>
                <c:pt idx="5">
                  <c:v>12.47752808988764</c:v>
                </c:pt>
                <c:pt idx="6">
                  <c:v>11.98628925254312</c:v>
                </c:pt>
                <c:pt idx="7">
                  <c:v>5.4730627306273059</c:v>
                </c:pt>
              </c:numCache>
            </c:numRef>
          </c:xVal>
          <c:yVal>
            <c:numRef>
              <c:f>Sheet1!$B$2:$B$9</c:f>
              <c:numCache>
                <c:formatCode>General</c:formatCode>
                <c:ptCount val="8"/>
                <c:pt idx="0">
                  <c:v>1.0874951158930199</c:v>
                </c:pt>
                <c:pt idx="1">
                  <c:v>1.3954019535888049</c:v>
                </c:pt>
                <c:pt idx="2">
                  <c:v>0.76811686860883222</c:v>
                </c:pt>
                <c:pt idx="3">
                  <c:v>1.2977283322558171</c:v>
                </c:pt>
                <c:pt idx="4">
                  <c:v>0.85799201942283865</c:v>
                </c:pt>
                <c:pt idx="5">
                  <c:v>1.6391758063048469</c:v>
                </c:pt>
                <c:pt idx="6">
                  <c:v>1.6806522054631601</c:v>
                </c:pt>
                <c:pt idx="7">
                  <c:v>0.71995453349961158</c:v>
                </c:pt>
              </c:numCache>
            </c:numRef>
          </c:yVal>
          <c:bubbleSize>
            <c:numRef>
              <c:f>Sheet1!$C$2:$C$9</c:f>
              <c:numCache>
                <c:formatCode>General</c:formatCode>
                <c:ptCount val="8"/>
                <c:pt idx="0">
                  <c:v>243572</c:v>
                </c:pt>
                <c:pt idx="1">
                  <c:v>126209</c:v>
                </c:pt>
                <c:pt idx="2">
                  <c:v>115018</c:v>
                </c:pt>
                <c:pt idx="3">
                  <c:v>83439</c:v>
                </c:pt>
                <c:pt idx="4">
                  <c:v>38571</c:v>
                </c:pt>
                <c:pt idx="5">
                  <c:v>31094</c:v>
                </c:pt>
                <c:pt idx="6">
                  <c:v>27101</c:v>
                </c:pt>
                <c:pt idx="7">
                  <c:v>14832</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Clio</c:v>
                  </c:pt>
                  <c:pt idx="5">
                    <c:v>Billie</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338BF6-398C-49A1-AA6F-DF27DF403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8EE86-44B4-4CD1-B8A8-6E52758E4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ABA0A0C-4AB2-4AB2-BEA0-103A179EC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F7A419-2B88-4793-8C10-EDA05F0E4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5DEBB2-720C-4E36-B512-A50176202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9CD91D-20C5-4BCF-9B34-6093F3B4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24BED09-0656-49CA-A356-3D4718FF5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615AE21-5298-4A6E-891B-9A2B07B21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91998209890356</c:v>
                </c:pt>
                <c:pt idx="1">
                  <c:v>14.119501691787139</c:v>
                </c:pt>
              </c:numCache>
            </c:numRef>
          </c:xVal>
          <c:yVal>
            <c:numRef>
              <c:f>Sheet1!$B$2:$B$3</c:f>
              <c:numCache>
                <c:formatCode>General</c:formatCode>
                <c:ptCount val="2"/>
                <c:pt idx="0">
                  <c:v>1.4367843861410059</c:v>
                </c:pt>
                <c:pt idx="1">
                  <c:v>0.4950930025162581</c:v>
                </c:pt>
              </c:numCache>
            </c:numRef>
          </c:yVal>
          <c:bubbleSize>
            <c:numRef>
              <c:f>Sheet1!$C$2:$C$3</c:f>
              <c:numCache>
                <c:formatCode>General</c:formatCode>
                <c:ptCount val="2"/>
                <c:pt idx="0">
                  <c:v>288697</c:v>
                </c:pt>
                <c:pt idx="1">
                  <c:v>9180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9E43C0-E4F0-440A-816E-278E40912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3664C9-EBA8-487C-BEC1-D90FEEFE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8790BB-0F73-4E4B-9623-6517BB9D0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F8C5CDD-4885-473D-B59E-2E8D112A8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5B3EAB-5D48-4145-ADE6-A4D6172AD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4DCFAB-C1F0-4980-BCBB-9DA60F8D1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4E15C0-63A2-49C4-8EC9-921FE0319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7EA25B-3C1A-47E6-9A69-9FCCE2E57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099060309557091</c:v>
                </c:pt>
                <c:pt idx="1">
                  <c:v>10.01699423673711</c:v>
                </c:pt>
              </c:numCache>
            </c:numRef>
          </c:xVal>
          <c:yVal>
            <c:numRef>
              <c:f>Sheet1!$B$2:$B$3</c:f>
              <c:numCache>
                <c:formatCode>General</c:formatCode>
                <c:ptCount val="2"/>
                <c:pt idx="0">
                  <c:v>0.99902838967913499</c:v>
                </c:pt>
                <c:pt idx="1">
                  <c:v>1.0840511096826859</c:v>
                </c:pt>
              </c:numCache>
            </c:numRef>
          </c:yVal>
          <c:bubbleSize>
            <c:numRef>
              <c:f>Sheet1!$C$2:$C$3</c:f>
              <c:numCache>
                <c:formatCode>General</c:formatCode>
                <c:ptCount val="2"/>
                <c:pt idx="0">
                  <c:v>2969457</c:v>
                </c:pt>
                <c:pt idx="1">
                  <c:v>13557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553735-2411-4E78-ACFF-A47B8812A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8BB42C-B64A-453B-BCB2-34FACE10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14E5C9-B6DF-44B1-9B4D-32148B6E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E3AB7A6-A71D-45D9-9932-C9011EAD7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014CE1-3B0A-4F7C-8D25-310C2034B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CEE917-F779-4909-A1DF-45BFBB40D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F5C8DE-95B6-4A03-BE7F-BDFBB9BEF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EC9B84-F069-49C3-B0E3-75C8CB36B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8721074636751256</c:v>
                </c:pt>
                <c:pt idx="1">
                  <c:v>16.5674056167061</c:v>
                </c:pt>
                <c:pt idx="2">
                  <c:v>13.221085066578629</c:v>
                </c:pt>
              </c:numCache>
            </c:numRef>
          </c:xVal>
          <c:yVal>
            <c:numRef>
              <c:f>Sheet1!$B$2:$B$4</c:f>
              <c:numCache>
                <c:formatCode>General</c:formatCode>
                <c:ptCount val="3"/>
                <c:pt idx="0">
                  <c:v>0.71158238621037184</c:v>
                </c:pt>
                <c:pt idx="1">
                  <c:v>2.0056473659988301</c:v>
                </c:pt>
                <c:pt idx="2">
                  <c:v>0.89099287844197839</c:v>
                </c:pt>
              </c:numCache>
            </c:numRef>
          </c:yVal>
          <c:bubbleSize>
            <c:numRef>
              <c:f>Sheet1!$C$2:$C$4</c:f>
              <c:numCache>
                <c:formatCode>General</c:formatCode>
                <c:ptCount val="3"/>
                <c:pt idx="0">
                  <c:v>760666</c:v>
                </c:pt>
                <c:pt idx="1">
                  <c:v>644207</c:v>
                </c:pt>
                <c:pt idx="2">
                  <c:v>120140</c:v>
                </c:pt>
              </c:numCache>
            </c:numRef>
          </c:bubbleSize>
          <c:bubble3D val="0"/>
          <c:extLst>
            <c:ext xmlns:c15="http://schemas.microsoft.com/office/drawing/2012/chart" uri="{02D57815-91ED-43cb-92C2-25804820EDAC}">
              <c15:datalabelsRange>
                <c15:f>Sheet1!$E$2:$E$10</c15:f>
                <c15:dlblRangeCache>
                  <c:ptCount val="9"/>
                  <c:pt idx="0">
                    <c:v>Skintimate</c:v>
                  </c:pt>
                  <c:pt idx="1">
                    <c:v>Intuition</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644679-F37E-49EB-8898-F573A7EC9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756CF0-8275-49B1-B952-20EDB4561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2F437E-E5B2-49BE-8F5C-723C23199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0CA5F7-4C08-446B-8EE4-F8A9A507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DDDA8-E6BF-44D4-B0E6-824A31F99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5935F2-DB8A-4552-B077-D694C2F17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224200-49C7-4165-9E87-56FC00C6E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C8C123-6B96-4904-A431-2E57A714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485249106613459</c:v>
                </c:pt>
                <c:pt idx="1">
                  <c:v>14.40898438602931</c:v>
                </c:pt>
                <c:pt idx="2">
                  <c:v>12.10951526032316</c:v>
                </c:pt>
                <c:pt idx="3">
                  <c:v>12.4527314066894</c:v>
                </c:pt>
              </c:numCache>
            </c:numRef>
          </c:xVal>
          <c:yVal>
            <c:numRef>
              <c:f>Sheet1!$B$2:$B$5</c:f>
              <c:numCache>
                <c:formatCode>General</c:formatCode>
                <c:ptCount val="4"/>
                <c:pt idx="0">
                  <c:v>1.318189429962479</c:v>
                </c:pt>
                <c:pt idx="1">
                  <c:v>1.033938437419728</c:v>
                </c:pt>
                <c:pt idx="2">
                  <c:v>0.7719778094360894</c:v>
                </c:pt>
                <c:pt idx="3">
                  <c:v>0.72541359255528615</c:v>
                </c:pt>
              </c:numCache>
            </c:numRef>
          </c:yVal>
          <c:bubbleSize>
            <c:numRef>
              <c:f>Sheet1!$C$2:$C$5</c:f>
              <c:numCache>
                <c:formatCode>General</c:formatCode>
                <c:ptCount val="4"/>
                <c:pt idx="0">
                  <c:v>1153535</c:v>
                </c:pt>
                <c:pt idx="1">
                  <c:v>510323</c:v>
                </c:pt>
                <c:pt idx="2">
                  <c:v>465405</c:v>
                </c:pt>
                <c:pt idx="3">
                  <c:v>41624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3A22F6-E77E-4753-9A3D-9B58094EA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7CB50AF-4F0E-4520-B4AA-B08BF464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4F881A-EFCD-4626-AD1D-2DB040BF7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289D268-5CFF-4DFF-BB2E-63CE8BD0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8ADCA0-0EFF-4F2E-A05F-8D51E51D7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228FA9-CBC0-4BCA-936A-D04CA573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23102C-7329-4926-818F-92E56EF7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E969EF-4E0F-4121-B67D-CCD42AA1D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699962866691418</c:v>
                </c:pt>
              </c:numCache>
            </c:numRef>
          </c:xVal>
          <c:yVal>
            <c:numRef>
              <c:f>Sheet1!$B$2:$B$2</c:f>
              <c:numCache>
                <c:formatCode>General</c:formatCode>
                <c:ptCount val="1"/>
                <c:pt idx="0">
                  <c:v>1.63271570735338</c:v>
                </c:pt>
              </c:numCache>
            </c:numRef>
          </c:yVal>
          <c:bubbleSize>
            <c:numRef>
              <c:f>Sheet1!$C$2:$C$2</c:f>
              <c:numCache>
                <c:formatCode>General</c:formatCode>
                <c:ptCount val="1"/>
                <c:pt idx="0">
                  <c:v>7459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2790EF-B20D-4AF1-8F8B-38A4A33D5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B69CC9-EA22-4454-8279-F45C0B7B7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75009E-6226-4161-A185-27DDE0EBE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8BD003-8BB5-41B6-9571-65BC06147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509F0-5B3E-40A0-BD4B-951A9DDA8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EAFE82-5E99-4943-B277-145652E81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E673AE-9A54-4797-9C64-81A38282C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622748-980E-49A0-A06C-3CA5B23D5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9.8096248606265508</c:v>
                </c:pt>
                <c:pt idx="1">
                  <c:v>5.8943554908620408</c:v>
                </c:pt>
                <c:pt idx="2">
                  <c:v>9.6682476496993317</c:v>
                </c:pt>
                <c:pt idx="3">
                  <c:v>7.1043180846515606</c:v>
                </c:pt>
                <c:pt idx="4">
                  <c:v>6.5579861837973628</c:v>
                </c:pt>
                <c:pt idx="5">
                  <c:v>12.611510791366911</c:v>
                </c:pt>
                <c:pt idx="6">
                  <c:v>5.4456338028169018</c:v>
                </c:pt>
              </c:numCache>
            </c:numRef>
          </c:xVal>
          <c:yVal>
            <c:numRef>
              <c:f>Sheet1!$B$2:$B$8</c:f>
              <c:numCache>
                <c:formatCode>General</c:formatCode>
                <c:ptCount val="7"/>
                <c:pt idx="0">
                  <c:v>1.218636884647226</c:v>
                </c:pt>
                <c:pt idx="1">
                  <c:v>0.85922639697059811</c:v>
                </c:pt>
                <c:pt idx="2">
                  <c:v>1.4244458189935409</c:v>
                </c:pt>
                <c:pt idx="3">
                  <c:v>1.5267664873543709</c:v>
                </c:pt>
                <c:pt idx="4">
                  <c:v>0.966027032421513</c:v>
                </c:pt>
                <c:pt idx="5">
                  <c:v>1.803751165273364</c:v>
                </c:pt>
                <c:pt idx="6">
                  <c:v>0.77985680222742992</c:v>
                </c:pt>
              </c:numCache>
            </c:numRef>
          </c:yVal>
          <c:bubbleSize>
            <c:numRef>
              <c:f>Sheet1!$C$2:$C$8</c:f>
              <c:numCache>
                <c:formatCode>General</c:formatCode>
                <c:ptCount val="7"/>
                <c:pt idx="0">
                  <c:v>272737</c:v>
                </c:pt>
                <c:pt idx="1">
                  <c:v>182224</c:v>
                </c:pt>
                <c:pt idx="2">
                  <c:v>114153</c:v>
                </c:pt>
                <c:pt idx="3">
                  <c:v>99702</c:v>
                </c:pt>
                <c:pt idx="4">
                  <c:v>62655</c:v>
                </c:pt>
                <c:pt idx="5">
                  <c:v>36813</c:v>
                </c:pt>
                <c:pt idx="6">
                  <c:v>19332</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Clio</c:v>
                  </c:pt>
                  <c:pt idx="5">
                    <c:v>Billie</c:v>
                  </c:pt>
                  <c:pt idx="6">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52F1FD-A324-42BA-B4D4-9B67CFD32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4754FC-F17A-4449-9480-FB92A1F6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D3C09AE-BE04-4163-99F6-FEEA32B69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8F3502-8CD6-4910-A41C-ACAFAAE48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E2934E-D0F4-4FAF-817D-953755342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8D087D-BEF9-48BB-8809-793D5573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705CE9-1E74-497C-939A-1A3D7CEBE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49B0B6-B9CB-477C-A377-D4B0B6262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87535963830662</c:v>
                </c:pt>
                <c:pt idx="1">
                  <c:v>14.15857628590031</c:v>
                </c:pt>
              </c:numCache>
            </c:numRef>
          </c:xVal>
          <c:yVal>
            <c:numRef>
              <c:f>Sheet1!$B$2:$B$3</c:f>
              <c:numCache>
                <c:formatCode>General</c:formatCode>
                <c:ptCount val="2"/>
                <c:pt idx="0">
                  <c:v>2.096114399431241</c:v>
                </c:pt>
                <c:pt idx="1">
                  <c:v>0.54416348334903009</c:v>
                </c:pt>
              </c:numCache>
            </c:numRef>
          </c:yVal>
          <c:bubbleSize>
            <c:numRef>
              <c:f>Sheet1!$C$2:$C$3</c:f>
              <c:numCache>
                <c:formatCode>General</c:formatCode>
                <c:ptCount val="2"/>
                <c:pt idx="0">
                  <c:v>289534</c:v>
                </c:pt>
                <c:pt idx="1">
                  <c:v>195714</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8F490A-D666-42D4-B03C-7070A7BF1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929FE0-59E7-4B6F-95C5-E2FB98B20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E8CABC-93A7-4ED8-AFE4-0633136CD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F245EB-9EC5-4D45-BE7C-811353153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A2A8D9-545D-466A-8EFE-E0950BF62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050BE3-99F4-4FD1-9CED-F43E8EAA7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AFEB73-BAD2-4ED5-B9F6-EEB46CE04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2541EB-A74A-405A-8E88-C94D06D9B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078998439486281</c:v>
                </c:pt>
                <c:pt idx="1">
                  <c:v>6.4063641646358223</c:v>
                </c:pt>
                <c:pt idx="2">
                  <c:v>4.5283898438905297</c:v>
                </c:pt>
                <c:pt idx="3">
                  <c:v>10.28947548754827</c:v>
                </c:pt>
                <c:pt idx="4">
                  <c:v>10.920943035514551</c:v>
                </c:pt>
                <c:pt idx="5">
                  <c:v>12.6543838832806</c:v>
                </c:pt>
                <c:pt idx="6">
                  <c:v>10.73424310050871</c:v>
                </c:pt>
                <c:pt idx="7">
                  <c:v>3.889627252928749</c:v>
                </c:pt>
                <c:pt idx="8">
                  <c:v>11.140023177281281</c:v>
                </c:pt>
              </c:numCache>
            </c:numRef>
          </c:xVal>
          <c:yVal>
            <c:numRef>
              <c:f>Sheet1!$B$2:$B$10</c:f>
              <c:numCache>
                <c:formatCode>General</c:formatCode>
                <c:ptCount val="9"/>
                <c:pt idx="0">
                  <c:v>1.661283311669028</c:v>
                </c:pt>
                <c:pt idx="1">
                  <c:v>0.98720698319581557</c:v>
                </c:pt>
                <c:pt idx="2">
                  <c:v>0.64336636744645714</c:v>
                </c:pt>
                <c:pt idx="3">
                  <c:v>1.9196005026965941</c:v>
                </c:pt>
                <c:pt idx="4">
                  <c:v>1.7665833361898171</c:v>
                </c:pt>
                <c:pt idx="5">
                  <c:v>2.3709541240605909</c:v>
                </c:pt>
                <c:pt idx="6">
                  <c:v>1.57312790862453</c:v>
                </c:pt>
                <c:pt idx="7">
                  <c:v>0.16800140784170309</c:v>
                </c:pt>
                <c:pt idx="8">
                  <c:v>1.8087096140967931</c:v>
                </c:pt>
              </c:numCache>
            </c:numRef>
          </c:yVal>
          <c:bubbleSize>
            <c:numRef>
              <c:f>Sheet1!$C$2:$C$10</c:f>
              <c:numCache>
                <c:formatCode>General</c:formatCode>
                <c:ptCount val="9"/>
                <c:pt idx="0">
                  <c:v>23064266</c:v>
                </c:pt>
                <c:pt idx="1">
                  <c:v>7110840</c:v>
                </c:pt>
                <c:pt idx="2">
                  <c:v>6595790</c:v>
                </c:pt>
                <c:pt idx="3">
                  <c:v>5105185</c:v>
                </c:pt>
                <c:pt idx="4">
                  <c:v>4130115</c:v>
                </c:pt>
                <c:pt idx="5">
                  <c:v>4031383</c:v>
                </c:pt>
                <c:pt idx="6">
                  <c:v>3097602</c:v>
                </c:pt>
                <c:pt idx="7">
                  <c:v>2505764</c:v>
                </c:pt>
                <c:pt idx="8">
                  <c:v>8939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6E9176-ADB9-4DE0-9BB3-1E1D09376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6CFA9-C107-41BD-84C3-2242C65AA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01C50DD-0B83-4CF0-AFD2-96218CBF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3212BE4-E0BB-42EB-8F66-518AFB6BB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1AA198-C8AA-48C5-A2C9-A02D1F83C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0B4B0E7-CC38-46A7-9FB4-3BBB30F82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6F046E-F666-409D-9E28-C6D22DB3E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8EF81F-A3F0-47BB-A847-73D38BB1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64012782966598</c:v>
                </c:pt>
                <c:pt idx="1">
                  <c:v>10.07906836511645</c:v>
                </c:pt>
              </c:numCache>
            </c:numRef>
          </c:xVal>
          <c:yVal>
            <c:numRef>
              <c:f>Sheet1!$B$2:$B$3</c:f>
              <c:numCache>
                <c:formatCode>General</c:formatCode>
                <c:ptCount val="2"/>
                <c:pt idx="0">
                  <c:v>1.001433353985095</c:v>
                </c:pt>
                <c:pt idx="1">
                  <c:v>0.99822904163689419</c:v>
                </c:pt>
              </c:numCache>
            </c:numRef>
          </c:yVal>
          <c:bubbleSize>
            <c:numRef>
              <c:f>Sheet1!$C$2:$C$3</c:f>
              <c:numCache>
                <c:formatCode>General</c:formatCode>
                <c:ptCount val="2"/>
                <c:pt idx="0">
                  <c:v>3529473</c:v>
                </c:pt>
                <c:pt idx="1">
                  <c:v>133719</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4D60EB-FFF5-4A01-9590-5CBEDE0EE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8854CA-72C7-4988-B0FB-736F16F58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E410F5-7965-452E-8426-A437DF00C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735689-DC18-406E-9AB1-0312E9FA5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76A932-4CC9-4ED3-8F45-A0AA39B64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314F6E-A80A-4F6A-B315-664275F16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EF9BB5-D978-42AC-BC95-36EBCC073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523677-996D-43CC-AD05-7D1A457F9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905017285701621</c:v>
                </c:pt>
                <c:pt idx="1">
                  <c:v>8.2308829547104558</c:v>
                </c:pt>
                <c:pt idx="2">
                  <c:v>13.608733752008179</c:v>
                </c:pt>
              </c:numCache>
            </c:numRef>
          </c:xVal>
          <c:yVal>
            <c:numRef>
              <c:f>Sheet1!$B$2:$B$4</c:f>
              <c:numCache>
                <c:formatCode>General</c:formatCode>
                <c:ptCount val="3"/>
                <c:pt idx="0">
                  <c:v>1.7844022486398059</c:v>
                </c:pt>
                <c:pt idx="1">
                  <c:v>0.66298062515998368</c:v>
                </c:pt>
                <c:pt idx="2">
                  <c:v>0.82995522135410593</c:v>
                </c:pt>
              </c:numCache>
            </c:numRef>
          </c:yVal>
          <c:bubbleSize>
            <c:numRef>
              <c:f>Sheet1!$C$2:$C$4</c:f>
              <c:numCache>
                <c:formatCode>General</c:formatCode>
                <c:ptCount val="3"/>
                <c:pt idx="0">
                  <c:v>807946</c:v>
                </c:pt>
                <c:pt idx="1">
                  <c:v>623547</c:v>
                </c:pt>
                <c:pt idx="2">
                  <c:v>186358</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4E1B11-5B94-469E-8BBD-8EF035BF6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32C846-6A2A-4168-AB48-6F0487B57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081E58-F204-4697-83CF-3311B42DA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19B6E9-4EE6-4AE0-A934-3150A8417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5927D5D-F390-4F23-9643-3FED06F05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10F450A-7076-4A42-8231-9BF92626A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6D0EDF-CAFA-44E0-84FF-7F0503F73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D51062-A0D1-472D-85F6-F4497E78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951158633964742</c:v>
                </c:pt>
                <c:pt idx="1">
                  <c:v>12.760372943055611</c:v>
                </c:pt>
                <c:pt idx="2">
                  <c:v>15.20252180061277</c:v>
                </c:pt>
                <c:pt idx="3">
                  <c:v>12.192333286281791</c:v>
                </c:pt>
              </c:numCache>
            </c:numRef>
          </c:xVal>
          <c:yVal>
            <c:numRef>
              <c:f>Sheet1!$B$2:$B$5</c:f>
              <c:numCache>
                <c:formatCode>General</c:formatCode>
                <c:ptCount val="4"/>
                <c:pt idx="0">
                  <c:v>1.300574858467108</c:v>
                </c:pt>
                <c:pt idx="1">
                  <c:v>0.70071791198506472</c:v>
                </c:pt>
                <c:pt idx="2">
                  <c:v>1.068096524450961</c:v>
                </c:pt>
                <c:pt idx="3">
                  <c:v>0.76720753245490847</c:v>
                </c:pt>
              </c:numCache>
            </c:numRef>
          </c:yVal>
          <c:bubbleSize>
            <c:numRef>
              <c:f>Sheet1!$C$2:$C$5</c:f>
              <c:numCache>
                <c:formatCode>General</c:formatCode>
                <c:ptCount val="4"/>
                <c:pt idx="0">
                  <c:v>1886402</c:v>
                </c:pt>
                <c:pt idx="1">
                  <c:v>687044</c:v>
                </c:pt>
                <c:pt idx="2">
                  <c:v>645043</c:v>
                </c:pt>
                <c:pt idx="3">
                  <c:v>604630</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Hydro Silk</c:v>
                  </c:pt>
                  <c:pt idx="3">
                    <c:v>Billi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B50E1-3FD7-483E-99AC-A43C9592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45139FA-5D76-4566-B811-7AF140DA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AEC7AF-0911-4948-B21E-4779DF345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8438F2-0E2F-47BC-A004-CE6675D1D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176322-56A8-4D08-97F8-C50F6D6F1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D8D876-BDC4-4A67-87FE-51592270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753CB5-5AEB-411E-9419-ACB6410F4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5E1C27-7CB0-4E6B-92ED-79C2CA724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652834740651389</c:v>
                </c:pt>
              </c:numCache>
            </c:numRef>
          </c:xVal>
          <c:yVal>
            <c:numRef>
              <c:f>Sheet1!$B$2:$B$2</c:f>
              <c:numCache>
                <c:formatCode>General</c:formatCode>
                <c:ptCount val="1"/>
                <c:pt idx="0">
                  <c:v>1.7204405702612171</c:v>
                </c:pt>
              </c:numCache>
            </c:numRef>
          </c:yVal>
          <c:bubbleSize>
            <c:numRef>
              <c:f>Sheet1!$C$2:$C$2</c:f>
              <c:numCache>
                <c:formatCode>General</c:formatCode>
                <c:ptCount val="1"/>
                <c:pt idx="0">
                  <c:v>98041</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71B20E-1981-4E44-A413-0EB591A4D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D0E87-EC06-4E5E-B25B-0FC14FAB3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A882C4-CC3D-479A-AAE2-9E8F51151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69A1AD-D0BF-458A-8742-3A31194C0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3C0861-B97F-4428-A5CA-DD7751B17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AC1DA8-33A8-4358-A09D-9CB0875C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CC5AA2-3E76-4181-9AE5-AAA480508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2A80C6-5037-4589-AD1F-4D540F483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7.5752773375594291</c:v>
                </c:pt>
                <c:pt idx="1">
                  <c:v>5.9584745762711862</c:v>
                </c:pt>
                <c:pt idx="2">
                  <c:v>5.246468722974921</c:v>
                </c:pt>
                <c:pt idx="3">
                  <c:v>3.3026149304091099</c:v>
                </c:pt>
                <c:pt idx="4">
                  <c:v>5.4563922942206657</c:v>
                </c:pt>
                <c:pt idx="5">
                  <c:v>6.6629213483146064</c:v>
                </c:pt>
                <c:pt idx="6">
                  <c:v>11.591807909604521</c:v>
                </c:pt>
                <c:pt idx="7">
                  <c:v>2.9807395993836669</c:v>
                </c:pt>
                <c:pt idx="8">
                  <c:v>16.865979381443299</c:v>
                </c:pt>
              </c:numCache>
            </c:numRef>
          </c:xVal>
          <c:yVal>
            <c:numRef>
              <c:f>Sheet1!$B$2:$B$10</c:f>
              <c:numCache>
                <c:formatCode>General</c:formatCode>
                <c:ptCount val="9"/>
                <c:pt idx="0">
                  <c:v>1.181613752318931</c:v>
                </c:pt>
                <c:pt idx="1">
                  <c:v>1.1250207334633</c:v>
                </c:pt>
                <c:pt idx="2">
                  <c:v>0.59529235149810356</c:v>
                </c:pt>
                <c:pt idx="3">
                  <c:v>0.64772285285199949</c:v>
                </c:pt>
                <c:pt idx="4">
                  <c:v>1.0300987782990789</c:v>
                </c:pt>
                <c:pt idx="5">
                  <c:v>1.8898146476297011</c:v>
                </c:pt>
                <c:pt idx="6">
                  <c:v>2.1847523414633492</c:v>
                </c:pt>
                <c:pt idx="7">
                  <c:v>0.84495585025243836</c:v>
                </c:pt>
                <c:pt idx="8">
                  <c:v>3.7916291238402291</c:v>
                </c:pt>
              </c:numCache>
            </c:numRef>
          </c:yVal>
          <c:bubbleSize>
            <c:numRef>
              <c:f>Sheet1!$C$2:$C$10</c:f>
              <c:numCache>
                <c:formatCode>General</c:formatCode>
                <c:ptCount val="9"/>
                <c:pt idx="0">
                  <c:v>47800</c:v>
                </c:pt>
                <c:pt idx="1">
                  <c:v>21093</c:v>
                </c:pt>
                <c:pt idx="2">
                  <c:v>18200</c:v>
                </c:pt>
                <c:pt idx="3">
                  <c:v>15661</c:v>
                </c:pt>
                <c:pt idx="4">
                  <c:v>15578</c:v>
                </c:pt>
                <c:pt idx="5">
                  <c:v>13639</c:v>
                </c:pt>
                <c:pt idx="6">
                  <c:v>8207</c:v>
                </c:pt>
                <c:pt idx="7">
                  <c:v>7738</c:v>
                </c:pt>
                <c:pt idx="8">
                  <c:v>163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Rem Pl</c:v>
                  </c:pt>
                  <c:pt idx="4">
                    <c:v>Clio</c:v>
                  </c:pt>
                  <c:pt idx="5">
                    <c:v>Revlon</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805FF6-F400-4C46-BBC5-3239C56B1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E417A9-F379-43D5-8E5F-419831171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BA239F-E997-4077-B366-DC263836F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1C449D-92B6-4F04-8333-2FC2BB0F6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8899356-B7F4-4384-A780-5E8427AEF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C29EA4-5F32-4FB4-98C9-321F9A055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C6463F-D201-4CBA-9608-C407A6593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6915C6-FC75-420F-9F3C-CB8795C3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638603969628349</c:v>
                </c:pt>
                <c:pt idx="1">
                  <c:v>6.7401907521429436</c:v>
                </c:pt>
                <c:pt idx="2">
                  <c:v>1.782403171698689</c:v>
                </c:pt>
                <c:pt idx="3">
                  <c:v>16.049342105263161</c:v>
                </c:pt>
              </c:numCache>
            </c:numRef>
          </c:xVal>
          <c:yVal>
            <c:numRef>
              <c:f>Sheet1!$B$2:$B$5</c:f>
              <c:numCache>
                <c:formatCode>General</c:formatCode>
                <c:ptCount val="4"/>
                <c:pt idx="0">
                  <c:v>0.67998529128106411</c:v>
                </c:pt>
                <c:pt idx="1">
                  <c:v>3.0650459847103049</c:v>
                </c:pt>
                <c:pt idx="2">
                  <c:v>0.56967746283732579</c:v>
                </c:pt>
                <c:pt idx="3">
                  <c:v>2.0077090893524692</c:v>
                </c:pt>
              </c:numCache>
            </c:numRef>
          </c:yVal>
          <c:bubbleSize>
            <c:numRef>
              <c:f>Sheet1!$C$2:$C$5</c:f>
              <c:numCache>
                <c:formatCode>General</c:formatCode>
                <c:ptCount val="4"/>
                <c:pt idx="0">
                  <c:v>58012</c:v>
                </c:pt>
                <c:pt idx="1">
                  <c:v>55829</c:v>
                </c:pt>
                <c:pt idx="2">
                  <c:v>23378</c:v>
                </c:pt>
                <c:pt idx="3">
                  <c:v>14637</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8CEA50-8793-4C1D-8F54-4C8EFA0CB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9C0ECC-BF53-49A6-9B71-FF485EBF5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DAADFF-C2D1-4B65-9B51-B913A04F0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870F915-1880-472F-90C2-678EE9A54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3BD2619-6E93-42AB-A6EE-D3130EFC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D59E6E1-491F-4307-83A1-681B3109D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132370-65BB-4B60-988D-6D6D7D33F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7C56C8-1B73-4BB1-9221-769B4B30D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9063282087951379</c:v>
                </c:pt>
                <c:pt idx="1">
                  <c:v>6.1705829596412558</c:v>
                </c:pt>
                <c:pt idx="2">
                  <c:v>4.0967012028105279</c:v>
                </c:pt>
              </c:numCache>
            </c:numRef>
          </c:xVal>
          <c:yVal>
            <c:numRef>
              <c:f>Sheet1!$B$2:$B$4</c:f>
              <c:numCache>
                <c:formatCode>General</c:formatCode>
                <c:ptCount val="3"/>
                <c:pt idx="0">
                  <c:v>1.2767250001552031</c:v>
                </c:pt>
                <c:pt idx="1">
                  <c:v>0.6891958272530162</c:v>
                </c:pt>
                <c:pt idx="2">
                  <c:v>0.59994026222693797</c:v>
                </c:pt>
              </c:numCache>
            </c:numRef>
          </c:yVal>
          <c:bubbleSize>
            <c:numRef>
              <c:f>Sheet1!$C$2:$C$4</c:f>
              <c:numCache>
                <c:formatCode>General</c:formatCode>
                <c:ptCount val="3"/>
                <c:pt idx="0">
                  <c:v>249110</c:v>
                </c:pt>
                <c:pt idx="1">
                  <c:v>68802</c:v>
                </c:pt>
                <c:pt idx="2">
                  <c:v>3440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5FD1C-E2E5-4483-A481-EF1C0C5B4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52893B-D40C-4789-8E61-3169D6344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687EC5-BFF3-4AE5-8ECB-275C7D499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A405E6-C021-443F-8146-C7A956637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46C828-5FC9-448B-8140-9065C1BCA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B8D74A-E33C-4663-8CCF-B54EF46B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C778CB-A35D-4E08-B610-616F840C5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B3E240-1C35-4ADC-9BE3-A8767E67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54301572617946</c:v>
                </c:pt>
                <c:pt idx="1">
                  <c:v>5.2894004553503668</c:v>
                </c:pt>
                <c:pt idx="2">
                  <c:v>5.9769150052465898</c:v>
                </c:pt>
                <c:pt idx="3">
                  <c:v>6.2964646464646474</c:v>
                </c:pt>
                <c:pt idx="4">
                  <c:v>15.364210526315791</c:v>
                </c:pt>
                <c:pt idx="5">
                  <c:v>6.4742014742014744</c:v>
                </c:pt>
              </c:numCache>
            </c:numRef>
          </c:xVal>
          <c:yVal>
            <c:numRef>
              <c:f>Sheet1!$B$2:$B$7</c:f>
              <c:numCache>
                <c:formatCode>General</c:formatCode>
                <c:ptCount val="6"/>
                <c:pt idx="0">
                  <c:v>1.6078073321091519</c:v>
                </c:pt>
                <c:pt idx="1">
                  <c:v>0.55794639988258143</c:v>
                </c:pt>
                <c:pt idx="2">
                  <c:v>0.65858207977898464</c:v>
                </c:pt>
                <c:pt idx="3">
                  <c:v>0.58635257746314351</c:v>
                </c:pt>
                <c:pt idx="4">
                  <c:v>1.4235407353686651</c:v>
                </c:pt>
                <c:pt idx="5">
                  <c:v>0.8197989299980557</c:v>
                </c:pt>
              </c:numCache>
            </c:numRef>
          </c:yVal>
          <c:bubbleSize>
            <c:numRef>
              <c:f>Sheet1!$C$2:$C$7</c:f>
              <c:numCache>
                <c:formatCode>General</c:formatCode>
                <c:ptCount val="6"/>
                <c:pt idx="0">
                  <c:v>87840</c:v>
                </c:pt>
                <c:pt idx="1">
                  <c:v>20909</c:v>
                </c:pt>
                <c:pt idx="2">
                  <c:v>17088</c:v>
                </c:pt>
                <c:pt idx="3">
                  <c:v>12467</c:v>
                </c:pt>
                <c:pt idx="4">
                  <c:v>7298</c:v>
                </c:pt>
                <c:pt idx="5">
                  <c:v>5270</c:v>
                </c:pt>
              </c:numCache>
            </c:numRef>
          </c:bubbleSize>
          <c:bubble3D val="0"/>
          <c:extLst>
            <c:ext xmlns:c15="http://schemas.microsoft.com/office/drawing/2012/chart" uri="{02D57815-91ED-43cb-92C2-25804820EDAC}">
              <c15:datalabelsRange>
                <c15:f>Sheet1!$E$2:$E$10</c15:f>
                <c15:dlblRangeCache>
                  <c:ptCount val="9"/>
                  <c:pt idx="0">
                    <c:v>Intuition</c:v>
                  </c:pt>
                  <c:pt idx="1">
                    <c:v>Pbg Pl</c:v>
                  </c:pt>
                  <c:pt idx="2">
                    <c:v>Bic Soleil</c:v>
                  </c:pt>
                  <c:pt idx="3">
                    <c:v>Skintimate</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2CF02C-5B30-4F8A-9865-B21E202D1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CA063-9A14-41F8-B953-CCCEF049F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E5B7E0-B8DE-401E-B64C-D7BE39B64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99EF0F-1815-4454-AA11-90C277AB1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BF3D92-29E4-4670-AABB-847DB61F0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197D29-6302-4B70-8A9B-3CADB7A63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4E7990-8398-41B0-A599-A8F2AD722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D94E4F-87AD-491F-83F8-CCFA7230F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40410898509832</c:v>
                </c:pt>
                <c:pt idx="1">
                  <c:v>4.9082612415628866</c:v>
                </c:pt>
                <c:pt idx="2">
                  <c:v>14.35655737704918</c:v>
                </c:pt>
                <c:pt idx="3">
                  <c:v>11.496463932107501</c:v>
                </c:pt>
                <c:pt idx="4">
                  <c:v>7.5870721396427108</c:v>
                </c:pt>
                <c:pt idx="5">
                  <c:v>11.188397008287851</c:v>
                </c:pt>
                <c:pt idx="6">
                  <c:v>12.28054298642534</c:v>
                </c:pt>
              </c:numCache>
            </c:numRef>
          </c:xVal>
          <c:yVal>
            <c:numRef>
              <c:f>Sheet1!$B$2:$B$8</c:f>
              <c:numCache>
                <c:formatCode>General</c:formatCode>
                <c:ptCount val="7"/>
                <c:pt idx="0">
                  <c:v>1.622019312829315</c:v>
                </c:pt>
                <c:pt idx="1">
                  <c:v>0.5431433061585984</c:v>
                </c:pt>
                <c:pt idx="2">
                  <c:v>1.663767606964657</c:v>
                </c:pt>
                <c:pt idx="3">
                  <c:v>0.95174855034915162</c:v>
                </c:pt>
                <c:pt idx="4">
                  <c:v>1.027738118739451</c:v>
                </c:pt>
                <c:pt idx="5">
                  <c:v>0.91054073005969538</c:v>
                </c:pt>
                <c:pt idx="6">
                  <c:v>0.97418530691290295</c:v>
                </c:pt>
              </c:numCache>
            </c:numRef>
          </c:yVal>
          <c:bubbleSize>
            <c:numRef>
              <c:f>Sheet1!$C$2:$C$8</c:f>
              <c:numCache>
                <c:formatCode>General</c:formatCode>
                <c:ptCount val="7"/>
                <c:pt idx="0">
                  <c:v>163357</c:v>
                </c:pt>
                <c:pt idx="1">
                  <c:v>103260</c:v>
                </c:pt>
                <c:pt idx="2">
                  <c:v>80569</c:v>
                </c:pt>
                <c:pt idx="3">
                  <c:v>73152</c:v>
                </c:pt>
                <c:pt idx="4">
                  <c:v>55636</c:v>
                </c:pt>
                <c:pt idx="5">
                  <c:v>55349</c:v>
                </c:pt>
                <c:pt idx="6">
                  <c:v>1085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llie</c:v>
                  </c:pt>
                  <c:pt idx="4">
                    <c:v>Bic Soleil</c:v>
                  </c:pt>
                  <c:pt idx="5">
                    <c:v>Joy</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6B326-D351-4886-88A8-3D91895A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8C86E8-D6E0-4FAF-A563-083EA4D09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4056EF-A274-4988-85E5-7F70B693E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441E56-6CED-4878-8D0D-657ADFAAF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1647DE-DB59-400A-93E1-36478C20C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4F32CA8-60AD-4AF9-A46E-C4B36B72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31F29B-AFF4-4DBD-9E9A-3FF2DF153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9C4959-4691-46DB-BACB-92B3D455E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9375</c:v>
                </c:pt>
              </c:numCache>
            </c:numRef>
          </c:xVal>
          <c:yVal>
            <c:numRef>
              <c:f>Sheet1!$B$2:$B$2</c:f>
              <c:numCache>
                <c:formatCode>General</c:formatCode>
                <c:ptCount val="1"/>
                <c:pt idx="0">
                  <c:v>1</c:v>
                </c:pt>
              </c:numCache>
            </c:numRef>
          </c:yVal>
          <c:bubbleSize>
            <c:numRef>
              <c:f>Sheet1!$C$2:$C$2</c:f>
              <c:numCache>
                <c:formatCode>General</c:formatCode>
                <c:ptCount val="1"/>
                <c:pt idx="0">
                  <c:v>787</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6C2BEA-396D-4054-8735-1B049BA87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86E8B0-001A-4BE5-9A9C-AA8A2886C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2271D5-7D76-4DDB-A1A3-0A30AA906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5525A1-295E-421C-9922-12EB6EC61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D684D3-C604-4CEE-ADD9-91FF434C7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650B46-0C88-48D3-B00E-B6F70216F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5AC650-85A0-4992-B072-FD9D24358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F4AF5B-9C86-4EDF-97D5-52CE10723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8992273786583382</c:v>
                </c:pt>
                <c:pt idx="1">
                  <c:v>6.7796924373550649</c:v>
                </c:pt>
                <c:pt idx="2">
                  <c:v>4.1438922248079662</c:v>
                </c:pt>
                <c:pt idx="3">
                  <c:v>3.7753507559804689</c:v>
                </c:pt>
                <c:pt idx="4">
                  <c:v>6.6576828775484138</c:v>
                </c:pt>
                <c:pt idx="5">
                  <c:v>11.960712045398891</c:v>
                </c:pt>
                <c:pt idx="6">
                  <c:v>12.945598007559809</c:v>
                </c:pt>
                <c:pt idx="7">
                  <c:v>3.505387818330719</c:v>
                </c:pt>
              </c:numCache>
            </c:numRef>
          </c:xVal>
          <c:yVal>
            <c:numRef>
              <c:f>Sheet1!$B$2:$B$9</c:f>
              <c:numCache>
                <c:formatCode>General</c:formatCode>
                <c:ptCount val="8"/>
                <c:pt idx="0">
                  <c:v>1.6588186808362959</c:v>
                </c:pt>
                <c:pt idx="1">
                  <c:v>1.3153368386529509</c:v>
                </c:pt>
                <c:pt idx="2">
                  <c:v>0.82287094402936767</c:v>
                </c:pt>
                <c:pt idx="3">
                  <c:v>0.25314185035044262</c:v>
                </c:pt>
                <c:pt idx="4">
                  <c:v>1.299966417921147</c:v>
                </c:pt>
                <c:pt idx="5">
                  <c:v>2.9930245651149749</c:v>
                </c:pt>
                <c:pt idx="6">
                  <c:v>0.77379190072577508</c:v>
                </c:pt>
                <c:pt idx="7">
                  <c:v>0.52566739414480979</c:v>
                </c:pt>
              </c:numCache>
            </c:numRef>
          </c:yVal>
          <c:bubbleSize>
            <c:numRef>
              <c:f>Sheet1!$C$2:$C$9</c:f>
              <c:numCache>
                <c:formatCode>General</c:formatCode>
                <c:ptCount val="8"/>
                <c:pt idx="0">
                  <c:v>179837926</c:v>
                </c:pt>
                <c:pt idx="1">
                  <c:v>108918098</c:v>
                </c:pt>
                <c:pt idx="2">
                  <c:v>66176351</c:v>
                </c:pt>
                <c:pt idx="3">
                  <c:v>30788631</c:v>
                </c:pt>
                <c:pt idx="4">
                  <c:v>22258012</c:v>
                </c:pt>
                <c:pt idx="5">
                  <c:v>12260292</c:v>
                </c:pt>
                <c:pt idx="6">
                  <c:v>11747224</c:v>
                </c:pt>
                <c:pt idx="7">
                  <c:v>710535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Hydro Silk</c:v>
                  </c:pt>
                  <c:pt idx="6">
                    <c:v>Daisy</c:v>
                  </c:pt>
                  <c:pt idx="7">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2C6288-6690-4195-AF15-CB458961D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50D192-A4F7-4FBE-9B5C-6F47707DF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6E625E-BA9F-4D8C-98CB-08C5E3FC1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110192-1C1D-4402-8A69-3E7762D6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1FB439-5E9C-4E2D-A5A5-2726EE8B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DEDFE9-9430-43E9-883E-9C3C69163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94BCB7-8989-4EBA-9E8E-C28E7CAD9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A64EC2-B2B4-4153-ACE0-8712424BE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995510826829411</c:v>
                </c:pt>
                <c:pt idx="1">
                  <c:v>5.3971027175696582</c:v>
                </c:pt>
                <c:pt idx="2">
                  <c:v>5.1794539764756662</c:v>
                </c:pt>
                <c:pt idx="3">
                  <c:v>4.9571810785324244</c:v>
                </c:pt>
                <c:pt idx="4">
                  <c:v>5.9797090706939686</c:v>
                </c:pt>
                <c:pt idx="5">
                  <c:v>2.8702008906350591</c:v>
                </c:pt>
                <c:pt idx="6">
                  <c:v>2.9618935865068918</c:v>
                </c:pt>
                <c:pt idx="7">
                  <c:v>10.941023667500479</c:v>
                </c:pt>
                <c:pt idx="8">
                  <c:v>14.891286841681429</c:v>
                </c:pt>
              </c:numCache>
            </c:numRef>
          </c:xVal>
          <c:yVal>
            <c:numRef>
              <c:f>Sheet1!$B$2:$B$10</c:f>
              <c:numCache>
                <c:formatCode>General</c:formatCode>
                <c:ptCount val="9"/>
                <c:pt idx="0">
                  <c:v>1.1542093934836939</c:v>
                </c:pt>
                <c:pt idx="1">
                  <c:v>1.079471262160437</c:v>
                </c:pt>
                <c:pt idx="2">
                  <c:v>0.62169026232540125</c:v>
                </c:pt>
                <c:pt idx="3">
                  <c:v>0.99157889509267372</c:v>
                </c:pt>
                <c:pt idx="4">
                  <c:v>1.794287513337119</c:v>
                </c:pt>
                <c:pt idx="5">
                  <c:v>0.58608520791484875</c:v>
                </c:pt>
                <c:pt idx="6">
                  <c:v>0.88879234637820503</c:v>
                </c:pt>
                <c:pt idx="7">
                  <c:v>2.1880744577194791</c:v>
                </c:pt>
                <c:pt idx="8">
                  <c:v>3.7088107116421938</c:v>
                </c:pt>
              </c:numCache>
            </c:numRef>
          </c:yVal>
          <c:bubbleSize>
            <c:numRef>
              <c:f>Sheet1!$C$2:$C$10</c:f>
              <c:numCache>
                <c:formatCode>General</c:formatCode>
                <c:ptCount val="9"/>
                <c:pt idx="0">
                  <c:v>1410903</c:v>
                </c:pt>
                <c:pt idx="1">
                  <c:v>690732</c:v>
                </c:pt>
                <c:pt idx="2">
                  <c:v>479980</c:v>
                </c:pt>
                <c:pt idx="3">
                  <c:v>452085</c:v>
                </c:pt>
                <c:pt idx="4">
                  <c:v>451773</c:v>
                </c:pt>
                <c:pt idx="5">
                  <c:v>432479</c:v>
                </c:pt>
                <c:pt idx="6">
                  <c:v>249892</c:v>
                </c:pt>
                <c:pt idx="7">
                  <c:v>227442</c:v>
                </c:pt>
                <c:pt idx="8">
                  <c:v>9246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Clio</c:v>
                  </c:pt>
                  <c:pt idx="4">
                    <c:v>Revlon</c:v>
                  </c:pt>
                  <c:pt idx="5">
                    <c:v>Rem Pl</c:v>
                  </c:pt>
                  <c:pt idx="6">
                    <c:v>Universal Prods Mktg</c:v>
                  </c:pt>
                  <c:pt idx="7">
                    <c:v>Japonesque</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9647D7-5DD8-428B-826C-1E4D0AB70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1711C4-AD99-4A57-A14E-2E83D762C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1FA728-1452-4AEB-899C-98BC1C12E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A7321-F2EA-4AA6-A240-7480E50E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4D762B-C911-417E-BB1B-604BE7E8F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5B4C03-7A16-4AB5-8047-A9C714C78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89AAB3-525C-4274-A4A4-6372EDC03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A68038-8871-4FE4-9A3F-D87F3A06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854608595689619</c:v>
                </c:pt>
                <c:pt idx="1">
                  <c:v>7.3682607237316002</c:v>
                </c:pt>
                <c:pt idx="2">
                  <c:v>14.970839786005911</c:v>
                </c:pt>
                <c:pt idx="3">
                  <c:v>1.5880802162557</c:v>
                </c:pt>
              </c:numCache>
            </c:numRef>
          </c:xVal>
          <c:yVal>
            <c:numRef>
              <c:f>Sheet1!$B$2:$B$5</c:f>
              <c:numCache>
                <c:formatCode>General</c:formatCode>
                <c:ptCount val="4"/>
                <c:pt idx="0">
                  <c:v>0.64334507492488036</c:v>
                </c:pt>
                <c:pt idx="1">
                  <c:v>3.230722099831794</c:v>
                </c:pt>
                <c:pt idx="2">
                  <c:v>1.896918550134306</c:v>
                </c:pt>
                <c:pt idx="3">
                  <c:v>0.52826212513908399</c:v>
                </c:pt>
              </c:numCache>
            </c:numRef>
          </c:yVal>
          <c:bubbleSize>
            <c:numRef>
              <c:f>Sheet1!$C$2:$C$5</c:f>
              <c:numCache>
                <c:formatCode>General</c:formatCode>
                <c:ptCount val="4"/>
                <c:pt idx="0">
                  <c:v>3068974</c:v>
                </c:pt>
                <c:pt idx="1">
                  <c:v>2680028</c:v>
                </c:pt>
                <c:pt idx="2">
                  <c:v>850703</c:v>
                </c:pt>
                <c:pt idx="3">
                  <c:v>617444</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FCA358-ACDD-4B90-ACE2-5BF3B87CA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64E1F5-EAAC-4BC5-90D5-4B82C2DD9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F6A87-C82D-45CC-9EE8-24CD5A92F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CD97C1E-BCDF-4666-B51A-71F90A051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8E24D47-FDE8-49DA-9797-394F0C204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0B7155-E0D3-4A2E-A152-3B69BED38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F0502B-0821-4507-BF8F-2BE59FB7F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8A4F85-B73D-4E2B-90EE-EDD811661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917039492752032</c:v>
                </c:pt>
                <c:pt idx="1">
                  <c:v>5.8242428115572817</c:v>
                </c:pt>
                <c:pt idx="2">
                  <c:v>3.836055931418374</c:v>
                </c:pt>
              </c:numCache>
            </c:numRef>
          </c:xVal>
          <c:yVal>
            <c:numRef>
              <c:f>Sheet1!$B$2:$B$4</c:f>
              <c:numCache>
                <c:formatCode>General</c:formatCode>
                <c:ptCount val="3"/>
                <c:pt idx="0">
                  <c:v>1.2503524901088989</c:v>
                </c:pt>
                <c:pt idx="1">
                  <c:v>0.68822857788509306</c:v>
                </c:pt>
                <c:pt idx="2">
                  <c:v>0.59268138028997419</c:v>
                </c:pt>
              </c:numCache>
            </c:numRef>
          </c:yVal>
          <c:bubbleSize>
            <c:numRef>
              <c:f>Sheet1!$C$2:$C$4</c:f>
              <c:numCache>
                <c:formatCode>General</c:formatCode>
                <c:ptCount val="3"/>
                <c:pt idx="0">
                  <c:v>13725101</c:v>
                </c:pt>
                <c:pt idx="1">
                  <c:v>4009997</c:v>
                </c:pt>
                <c:pt idx="2">
                  <c:v>135002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5697B2-3374-4320-8E4C-30BE8D146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48D165-0615-423F-891C-DEF1DC5C6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D63F97-3C06-43E6-BC05-F4E1BF44D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9CC9E2-952C-4519-AF9E-7F255F0E8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2DF27A-A2D8-4692-97C1-BCF7FB85F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7A2985-D0F3-4A91-A78D-D8FEA00AA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499B4A-DF00-4B33-8D2B-44A23BFFD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85A2525-7275-42C4-8D18-88B15F2C8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062135568513121</c:v>
                </c:pt>
                <c:pt idx="1">
                  <c:v>6.8494502929878456</c:v>
                </c:pt>
                <c:pt idx="2">
                  <c:v>5.7077103055841079</c:v>
                </c:pt>
                <c:pt idx="3">
                  <c:v>5.1781418119216696</c:v>
                </c:pt>
                <c:pt idx="4">
                  <c:v>14.964399609502109</c:v>
                </c:pt>
                <c:pt idx="5">
                  <c:v>6.0981804721091146</c:v>
                </c:pt>
              </c:numCache>
            </c:numRef>
          </c:xVal>
          <c:yVal>
            <c:numRef>
              <c:f>Sheet1!$B$2:$B$7</c:f>
              <c:numCache>
                <c:formatCode>General</c:formatCode>
                <c:ptCount val="6"/>
                <c:pt idx="0">
                  <c:v>1.6187658679651691</c:v>
                </c:pt>
                <c:pt idx="1">
                  <c:v>0.56412253688048064</c:v>
                </c:pt>
                <c:pt idx="2">
                  <c:v>0.67050577275624956</c:v>
                </c:pt>
                <c:pt idx="3">
                  <c:v>0.54181951079428603</c:v>
                </c:pt>
                <c:pt idx="4">
                  <c:v>1.462892915628272</c:v>
                </c:pt>
                <c:pt idx="5">
                  <c:v>0.79824851930220175</c:v>
                </c:pt>
              </c:numCache>
            </c:numRef>
          </c:yVal>
          <c:bubbleSize>
            <c:numRef>
              <c:f>Sheet1!$C$2:$C$7</c:f>
              <c:numCache>
                <c:formatCode>General</c:formatCode>
                <c:ptCount val="6"/>
                <c:pt idx="0">
                  <c:v>5519745</c:v>
                </c:pt>
                <c:pt idx="1">
                  <c:v>1085905</c:v>
                </c:pt>
                <c:pt idx="2">
                  <c:v>1005065</c:v>
                </c:pt>
                <c:pt idx="3">
                  <c:v>962513</c:v>
                </c:pt>
                <c:pt idx="4">
                  <c:v>459856</c:v>
                </c:pt>
                <c:pt idx="5">
                  <c:v>42832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BFFA27-FEA0-46B1-8D8C-53642DE23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49E766-91CF-49D8-AA90-380DEAD8B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E68EC8-0391-4750-99B9-F52145D12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BC231-9469-44DD-875E-C1BB31C67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AE98AD-893E-4366-8DCF-5E82BDD62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E60767-3D72-4E01-A8E5-302342067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B5C72-CD90-4156-8D4F-59C97CDF1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F5417C-B9A6-42B1-A452-E6C2579D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07781733141965</c:v>
                </c:pt>
                <c:pt idx="1">
                  <c:v>10.80020063929609</c:v>
                </c:pt>
                <c:pt idx="2">
                  <c:v>5.7854655304947782</c:v>
                </c:pt>
                <c:pt idx="3">
                  <c:v>12.51321901508048</c:v>
                </c:pt>
                <c:pt idx="4">
                  <c:v>10.58469030769276</c:v>
                </c:pt>
                <c:pt idx="5">
                  <c:v>7.5254336445571806</c:v>
                </c:pt>
                <c:pt idx="6">
                  <c:v>10.972220095254141</c:v>
                </c:pt>
              </c:numCache>
            </c:numRef>
          </c:xVal>
          <c:yVal>
            <c:numRef>
              <c:f>Sheet1!$B$2:$B$8</c:f>
              <c:numCache>
                <c:formatCode>General</c:formatCode>
                <c:ptCount val="7"/>
                <c:pt idx="0">
                  <c:v>1.7399513774877291</c:v>
                </c:pt>
                <c:pt idx="1">
                  <c:v>0.99260207794282873</c:v>
                </c:pt>
                <c:pt idx="2">
                  <c:v>0.55173492006654179</c:v>
                </c:pt>
                <c:pt idx="3">
                  <c:v>1.453656376494902</c:v>
                </c:pt>
                <c:pt idx="4">
                  <c:v>0.88206307905478365</c:v>
                </c:pt>
                <c:pt idx="5">
                  <c:v>0.86521781553506361</c:v>
                </c:pt>
                <c:pt idx="6">
                  <c:v>1.004963618710303</c:v>
                </c:pt>
              </c:numCache>
            </c:numRef>
          </c:yVal>
          <c:bubbleSize>
            <c:numRef>
              <c:f>Sheet1!$C$2:$C$8</c:f>
              <c:numCache>
                <c:formatCode>General</c:formatCode>
                <c:ptCount val="7"/>
                <c:pt idx="0">
                  <c:v>8945383</c:v>
                </c:pt>
                <c:pt idx="1">
                  <c:v>5027623</c:v>
                </c:pt>
                <c:pt idx="2">
                  <c:v>4937270</c:v>
                </c:pt>
                <c:pt idx="3">
                  <c:v>4043434</c:v>
                </c:pt>
                <c:pt idx="4">
                  <c:v>3573148</c:v>
                </c:pt>
                <c:pt idx="5">
                  <c:v>3485969</c:v>
                </c:pt>
                <c:pt idx="6">
                  <c:v>71647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0DC44-E014-4F25-8DFD-38AFCF617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9D7C26-1301-4980-AC99-F867A63B8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ECACFA8-4AF3-43A7-8EF0-7EACFB6F6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DAA68D-85E6-49D1-8407-3ECC61266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3227E1-ED54-4AD4-B20F-9D710FE68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C8AAD0-320C-4D6F-8DA2-A2A091B98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1169C5-F1E0-477C-B8A7-0AE9C2DF2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F80CFC-E70D-47B9-9244-D43236AD4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799481170444301</c:v>
                </c:pt>
                <c:pt idx="1">
                  <c:v>9.3295319192072785</c:v>
                </c:pt>
              </c:numCache>
            </c:numRef>
          </c:xVal>
          <c:yVal>
            <c:numRef>
              <c:f>Sheet1!$B$2:$B$3</c:f>
              <c:numCache>
                <c:formatCode>General</c:formatCode>
                <c:ptCount val="2"/>
                <c:pt idx="0">
                  <c:v>1.1136459276908119</c:v>
                </c:pt>
                <c:pt idx="1">
                  <c:v>0.87054612935794895</c:v>
                </c:pt>
              </c:numCache>
            </c:numRef>
          </c:yVal>
          <c:bubbleSize>
            <c:numRef>
              <c:f>Sheet1!$C$2:$C$3</c:f>
              <c:numCache>
                <c:formatCode>General</c:formatCode>
                <c:ptCount val="2"/>
                <c:pt idx="0">
                  <c:v>536723</c:v>
                </c:pt>
                <c:pt idx="1">
                  <c:v>3681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0EF468-D4FF-45F9-93A1-58403AB2C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DF090B-A159-4FA2-84D7-0F7A57412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203B24-F7FE-4D66-9B2B-D0007A126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F8549F-64A9-4EB1-A7F4-D8726FB15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AF922C-ED2A-42D0-8ADD-4226143C0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9A0CC4-3EE0-4AFA-8A08-A6FFC306F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136A2D-C159-4D7C-AE7F-08AF846C0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CC1F48-6C74-480F-B6C5-4971DAB67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391713035492408</c:v>
                </c:pt>
                <c:pt idx="1">
                  <c:v>5.3768166427466664</c:v>
                </c:pt>
                <c:pt idx="2">
                  <c:v>5.9794096643656269</c:v>
                </c:pt>
                <c:pt idx="3">
                  <c:v>4.9513873048603569</c:v>
                </c:pt>
                <c:pt idx="4">
                  <c:v>5.1517211883272838</c:v>
                </c:pt>
                <c:pt idx="5">
                  <c:v>2.8544645987489159</c:v>
                </c:pt>
                <c:pt idx="6">
                  <c:v>10.93569563882064</c:v>
                </c:pt>
                <c:pt idx="7">
                  <c:v>2.9261159259348668</c:v>
                </c:pt>
                <c:pt idx="8">
                  <c:v>14.84274881516588</c:v>
                </c:pt>
              </c:numCache>
            </c:numRef>
          </c:xVal>
          <c:yVal>
            <c:numRef>
              <c:f>Sheet1!$B$2:$B$10</c:f>
              <c:numCache>
                <c:formatCode>General</c:formatCode>
                <c:ptCount val="9"/>
                <c:pt idx="0">
                  <c:v>1.132967726813296</c:v>
                </c:pt>
                <c:pt idx="1">
                  <c:v>1.049364905270797</c:v>
                </c:pt>
                <c:pt idx="2">
                  <c:v>1.750710975546889</c:v>
                </c:pt>
                <c:pt idx="3">
                  <c:v>0.96636398399786805</c:v>
                </c:pt>
                <c:pt idx="4">
                  <c:v>0.60331920750744938</c:v>
                </c:pt>
                <c:pt idx="5">
                  <c:v>0.56782369111268982</c:v>
                </c:pt>
                <c:pt idx="6">
                  <c:v>2.1343033097746762</c:v>
                </c:pt>
                <c:pt idx="7">
                  <c:v>0.85673603780812846</c:v>
                </c:pt>
                <c:pt idx="8">
                  <c:v>3.609623726659644</c:v>
                </c:pt>
              </c:numCache>
            </c:numRef>
          </c:yVal>
          <c:bubbleSize>
            <c:numRef>
              <c:f>Sheet1!$C$2:$C$10</c:f>
              <c:numCache>
                <c:formatCode>General</c:formatCode>
                <c:ptCount val="9"/>
                <c:pt idx="0">
                  <c:v>1541412</c:v>
                </c:pt>
                <c:pt idx="1">
                  <c:v>771756</c:v>
                </c:pt>
                <c:pt idx="2">
                  <c:v>552629</c:v>
                </c:pt>
                <c:pt idx="3">
                  <c:v>542677</c:v>
                </c:pt>
                <c:pt idx="4">
                  <c:v>469770</c:v>
                </c:pt>
                <c:pt idx="5">
                  <c:v>464076</c:v>
                </c:pt>
                <c:pt idx="6">
                  <c:v>284853</c:v>
                </c:pt>
                <c:pt idx="7">
                  <c:v>242417</c:v>
                </c:pt>
                <c:pt idx="8">
                  <c:v>15659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Clio</c:v>
                  </c:pt>
                  <c:pt idx="4">
                    <c:v>Evribeauty</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CEA2DB-E997-495A-88C1-7E1BB7352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EEAAA8-A11D-4F8B-AB20-CD6203DE1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FE9305-FC4E-48C3-A432-AA9846105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975EC-C268-42E1-A760-827DDECCE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CB1C5D-FA57-42DB-AEB4-1125C9DEE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589F73-E4F4-4536-8E51-99A56F249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DB2E8E-9174-4C33-AF7B-08B8C30F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970280-9853-459B-AD1D-0F4708965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660025261785438</c:v>
                </c:pt>
                <c:pt idx="1">
                  <c:v>7.8757125065861953</c:v>
                </c:pt>
                <c:pt idx="2">
                  <c:v>15.0126563493746</c:v>
                </c:pt>
                <c:pt idx="3">
                  <c:v>1.572500732922897</c:v>
                </c:pt>
              </c:numCache>
            </c:numRef>
          </c:xVal>
          <c:yVal>
            <c:numRef>
              <c:f>Sheet1!$B$2:$B$5</c:f>
              <c:numCache>
                <c:formatCode>General</c:formatCode>
                <c:ptCount val="4"/>
                <c:pt idx="0">
                  <c:v>0.62840989335676489</c:v>
                </c:pt>
                <c:pt idx="1">
                  <c:v>3.4418878660666312</c:v>
                </c:pt>
                <c:pt idx="2">
                  <c:v>1.8483502172371911</c:v>
                </c:pt>
                <c:pt idx="3">
                  <c:v>0.51346489806946183</c:v>
                </c:pt>
              </c:numCache>
            </c:numRef>
          </c:yVal>
          <c:bubbleSize>
            <c:numRef>
              <c:f>Sheet1!$C$2:$C$5</c:f>
              <c:numCache>
                <c:formatCode>General</c:formatCode>
                <c:ptCount val="4"/>
                <c:pt idx="0">
                  <c:v>2846499</c:v>
                </c:pt>
                <c:pt idx="1">
                  <c:v>2630740</c:v>
                </c:pt>
                <c:pt idx="2">
                  <c:v>708147</c:v>
                </c:pt>
                <c:pt idx="3">
                  <c:v>536380</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BE1789-8F5B-4864-8243-6A5D57A8A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1FEF2B-E2D8-49D5-94A7-609196529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8A49EA-9EEB-46AC-BDC5-DE8EC6929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38548A-7AA1-48D8-A18D-F7D218AAA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A1174D-7F64-42A9-8586-61962C21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C40615-F0F5-4B79-8CE9-68F27AD36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43ED13-F307-4763-A508-363725399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A36D6D-BA34-4F17-9309-228D1E6B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6620821607104972</c:v>
                </c:pt>
                <c:pt idx="1">
                  <c:v>5.8468351829638614</c:v>
                </c:pt>
                <c:pt idx="2">
                  <c:v>3.8432647195570402</c:v>
                </c:pt>
              </c:numCache>
            </c:numRef>
          </c:xVal>
          <c:yVal>
            <c:numRef>
              <c:f>Sheet1!$B$2:$B$4</c:f>
              <c:numCache>
                <c:formatCode>General</c:formatCode>
                <c:ptCount val="3"/>
                <c:pt idx="0">
                  <c:v>1.2738395735442309</c:v>
                </c:pt>
                <c:pt idx="1">
                  <c:v>0.68999463623189183</c:v>
                </c:pt>
                <c:pt idx="2">
                  <c:v>0.59378373310046828</c:v>
                </c:pt>
              </c:numCache>
            </c:numRef>
          </c:yVal>
          <c:bubbleSize>
            <c:numRef>
              <c:f>Sheet1!$C$2:$C$4</c:f>
              <c:numCache>
                <c:formatCode>General</c:formatCode>
                <c:ptCount val="3"/>
                <c:pt idx="0">
                  <c:v>12450054</c:v>
                </c:pt>
                <c:pt idx="1">
                  <c:v>3870219</c:v>
                </c:pt>
                <c:pt idx="2">
                  <c:v>136391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CBB55E-0157-4A26-BEE2-4DF934040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F668EC-70DA-4070-870D-EBB3D608F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27BFB6-E720-4D0A-BD16-E19414AD4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14A392-0193-4A71-B8C5-09531C23F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BD26D8-61C9-42EB-94E8-0F5EC9A55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548670-DFD5-481A-8D96-685128C4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CB0E4C-E6BC-4C1A-9E87-668874E1F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D3EFFE-55D9-4E6C-982D-E49059354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1587984566112</c:v>
                </c:pt>
                <c:pt idx="1">
                  <c:v>6.8513737986129506</c:v>
                </c:pt>
                <c:pt idx="2">
                  <c:v>5.69535483131909</c:v>
                </c:pt>
                <c:pt idx="3">
                  <c:v>5.1919008100235846</c:v>
                </c:pt>
                <c:pt idx="4">
                  <c:v>14.963529184915849</c:v>
                </c:pt>
                <c:pt idx="5">
                  <c:v>5.9399689887192908</c:v>
                </c:pt>
              </c:numCache>
            </c:numRef>
          </c:xVal>
          <c:yVal>
            <c:numRef>
              <c:f>Sheet1!$B$2:$B$7</c:f>
              <c:numCache>
                <c:formatCode>General</c:formatCode>
                <c:ptCount val="6"/>
                <c:pt idx="0">
                  <c:v>1.6229825751274041</c:v>
                </c:pt>
                <c:pt idx="1">
                  <c:v>0.55722482222891023</c:v>
                </c:pt>
                <c:pt idx="2">
                  <c:v>0.66657600005536033</c:v>
                </c:pt>
                <c:pt idx="3">
                  <c:v>0.54073289346653952</c:v>
                </c:pt>
                <c:pt idx="4">
                  <c:v>1.4580558737646829</c:v>
                </c:pt>
                <c:pt idx="5">
                  <c:v>0.78644540058894552</c:v>
                </c:pt>
              </c:numCache>
            </c:numRef>
          </c:yVal>
          <c:bubbleSize>
            <c:numRef>
              <c:f>Sheet1!$C$2:$C$7</c:f>
              <c:numCache>
                <c:formatCode>General</c:formatCode>
                <c:ptCount val="6"/>
                <c:pt idx="0">
                  <c:v>5538433</c:v>
                </c:pt>
                <c:pt idx="1">
                  <c:v>1060024</c:v>
                </c:pt>
                <c:pt idx="2">
                  <c:v>994352</c:v>
                </c:pt>
                <c:pt idx="3">
                  <c:v>992842</c:v>
                </c:pt>
                <c:pt idx="4">
                  <c:v>543221</c:v>
                </c:pt>
                <c:pt idx="5">
                  <c:v>417562</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7D1378-E246-4F32-8410-EEF9D0820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898913-951D-4BCF-8593-AFD8A2EB9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01C1BA-116E-479E-9244-34CF8F3BD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78325A-7DEC-4B77-B4D4-BA61FC4CA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577645-9CAF-4C8C-AE4D-168018EFC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148AE7-DA50-45E9-93EF-5391A00AB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A86062-6CB9-4032-B0A2-CE5C13ED9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4D9969-66AB-46A0-B48C-924704FA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8097071555876</c:v>
                </c:pt>
                <c:pt idx="1">
                  <c:v>14.09618401669541</c:v>
                </c:pt>
                <c:pt idx="2">
                  <c:v>10.738790170881201</c:v>
                </c:pt>
                <c:pt idx="3">
                  <c:v>11.500815093548511</c:v>
                </c:pt>
                <c:pt idx="4">
                  <c:v>13.69002853515828</c:v>
                </c:pt>
                <c:pt idx="5">
                  <c:v>10.622746003770221</c:v>
                </c:pt>
                <c:pt idx="6">
                  <c:v>7.0892251240404676</c:v>
                </c:pt>
                <c:pt idx="7">
                  <c:v>12.50315426165823</c:v>
                </c:pt>
              </c:numCache>
            </c:numRef>
          </c:xVal>
          <c:yVal>
            <c:numRef>
              <c:f>Sheet1!$B$2:$B$9</c:f>
              <c:numCache>
                <c:formatCode>General</c:formatCode>
                <c:ptCount val="8"/>
                <c:pt idx="0">
                  <c:v>1.2606584019775839</c:v>
                </c:pt>
                <c:pt idx="1">
                  <c:v>1.0813222413271371</c:v>
                </c:pt>
                <c:pt idx="2">
                  <c:v>0.76795130781424259</c:v>
                </c:pt>
                <c:pt idx="3">
                  <c:v>0.81690329176613607</c:v>
                </c:pt>
                <c:pt idx="4">
                  <c:v>1.2770337087292549</c:v>
                </c:pt>
                <c:pt idx="5">
                  <c:v>0.72665629403212606</c:v>
                </c:pt>
                <c:pt idx="6">
                  <c:v>0.56673649383999414</c:v>
                </c:pt>
                <c:pt idx="7">
                  <c:v>0.5866231056284561</c:v>
                </c:pt>
              </c:numCache>
            </c:numRef>
          </c:yVal>
          <c:bubbleSize>
            <c:numRef>
              <c:f>Sheet1!$C$2:$C$9</c:f>
              <c:numCache>
                <c:formatCode>General</c:formatCode>
                <c:ptCount val="8"/>
                <c:pt idx="0">
                  <c:v>346486656</c:v>
                </c:pt>
                <c:pt idx="1">
                  <c:v>85383871</c:v>
                </c:pt>
                <c:pt idx="2">
                  <c:v>64515870</c:v>
                </c:pt>
                <c:pt idx="3">
                  <c:v>63416541</c:v>
                </c:pt>
                <c:pt idx="4">
                  <c:v>49434474</c:v>
                </c:pt>
                <c:pt idx="5">
                  <c:v>27025838</c:v>
                </c:pt>
                <c:pt idx="6">
                  <c:v>14598182</c:v>
                </c:pt>
                <c:pt idx="7">
                  <c:v>807841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Pbg Pl</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A6285B-654F-4F16-A256-2523EC5C3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765647-35D4-45AC-90F3-1AA3934F2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8E764E-868F-49A9-874A-A746A8696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BAAC5F-0EA1-49AA-A11F-176B9C000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D0AA00-EC16-440B-92E0-26D84C95E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DA11DF-9760-47D3-AD72-75ECBA5E2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DF51F6-A616-470F-A881-E1019344A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4EEBF76-9CD9-4B01-AE28-2895D895C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3969170134741</c:v>
                </c:pt>
                <c:pt idx="1">
                  <c:v>10.800455477809489</c:v>
                </c:pt>
                <c:pt idx="2">
                  <c:v>6.0162641695416461</c:v>
                </c:pt>
                <c:pt idx="3">
                  <c:v>10.542758677887971</c:v>
                </c:pt>
                <c:pt idx="4">
                  <c:v>12.52904307626919</c:v>
                </c:pt>
                <c:pt idx="5">
                  <c:v>7.5267486848028673</c:v>
                </c:pt>
                <c:pt idx="6">
                  <c:v>10.912191384472701</c:v>
                </c:pt>
              </c:numCache>
            </c:numRef>
          </c:xVal>
          <c:yVal>
            <c:numRef>
              <c:f>Sheet1!$B$2:$B$8</c:f>
              <c:numCache>
                <c:formatCode>General</c:formatCode>
                <c:ptCount val="7"/>
                <c:pt idx="0">
                  <c:v>1.781604845552587</c:v>
                </c:pt>
                <c:pt idx="1">
                  <c:v>1.0092103907840311</c:v>
                </c:pt>
                <c:pt idx="2">
                  <c:v>0.56244751931444115</c:v>
                </c:pt>
                <c:pt idx="3">
                  <c:v>0.88970045098334771</c:v>
                </c:pt>
                <c:pt idx="4">
                  <c:v>1.440775526192005</c:v>
                </c:pt>
                <c:pt idx="5">
                  <c:v>0.8447760309189607</c:v>
                </c:pt>
                <c:pt idx="6">
                  <c:v>1.0247410955228069</c:v>
                </c:pt>
              </c:numCache>
            </c:numRef>
          </c:yVal>
          <c:bubbleSize>
            <c:numRef>
              <c:f>Sheet1!$C$2:$C$8</c:f>
              <c:numCache>
                <c:formatCode>General</c:formatCode>
                <c:ptCount val="7"/>
                <c:pt idx="0">
                  <c:v>9665543</c:v>
                </c:pt>
                <c:pt idx="1">
                  <c:v>6350171</c:v>
                </c:pt>
                <c:pt idx="2">
                  <c:v>5664048</c:v>
                </c:pt>
                <c:pt idx="3">
                  <c:v>4830439</c:v>
                </c:pt>
                <c:pt idx="4">
                  <c:v>4303814</c:v>
                </c:pt>
                <c:pt idx="5">
                  <c:v>3460927</c:v>
                </c:pt>
                <c:pt idx="6">
                  <c:v>108241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2864BC-6458-49E5-A2A1-3A4AF7FB4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C6DB8A-8CE1-4E12-BEDE-7D161A58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D87301-0A67-4E4D-A078-2FF1B723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674EDD4-B214-440E-AF23-4D9C56136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CB887A6-53AC-4835-8DAF-612F0FCA5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186BA8-137D-436B-BD95-C00137FC9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0EB704-61BE-49D4-8B37-AD029EF5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DD4487-3967-40F8-9C17-F1360A25A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9495205162</c:v>
                </c:pt>
                <c:pt idx="1">
                  <c:v>8.9908832467405162</c:v>
                </c:pt>
              </c:numCache>
            </c:numRef>
          </c:xVal>
          <c:yVal>
            <c:numRef>
              <c:f>Sheet1!$B$2:$B$3</c:f>
              <c:numCache>
                <c:formatCode>General</c:formatCode>
                <c:ptCount val="2"/>
                <c:pt idx="0">
                  <c:v>1.0896900804692871</c:v>
                </c:pt>
                <c:pt idx="1">
                  <c:v>0.87732031402043542</c:v>
                </c:pt>
              </c:numCache>
            </c:numRef>
          </c:yVal>
          <c:bubbleSize>
            <c:numRef>
              <c:f>Sheet1!$C$2:$C$3</c:f>
              <c:numCache>
                <c:formatCode>General</c:formatCode>
                <c:ptCount val="2"/>
                <c:pt idx="0">
                  <c:v>623627</c:v>
                </c:pt>
                <c:pt idx="1">
                  <c:v>36686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E80A83-7D1D-41A8-A2B5-B7BF0AD98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D4D7E7-A08C-4842-A912-A8FBA94B2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22771C-3A46-449A-B8F4-67C8A68EB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7CD8F5-C8BA-470B-B26A-6ED428D7F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31909C-311E-4C8D-952F-3FA15F15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CA8154-105B-4EDE-B9E9-F049D90D8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75FA13-CF79-4EEF-AC08-02F9C8DD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C143BE-4804-4429-A2A7-433439B5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20855057351408</c:v>
                </c:pt>
                <c:pt idx="1">
                  <c:v>2.9817794604827261</c:v>
                </c:pt>
                <c:pt idx="2">
                  <c:v>6.1286516853932582</c:v>
                </c:pt>
                <c:pt idx="3">
                  <c:v>3.146279144043437</c:v>
                </c:pt>
                <c:pt idx="4">
                  <c:v>15.62154696132597</c:v>
                </c:pt>
              </c:numCache>
            </c:numRef>
          </c:xVal>
          <c:yVal>
            <c:numRef>
              <c:f>Sheet1!$B$2:$B$6</c:f>
              <c:numCache>
                <c:formatCode>General</c:formatCode>
                <c:ptCount val="5"/>
                <c:pt idx="0">
                  <c:v>6.3811655593685526</c:v>
                </c:pt>
                <c:pt idx="1">
                  <c:v>1.6560266937668431</c:v>
                </c:pt>
                <c:pt idx="2">
                  <c:v>2.263453980866263</c:v>
                </c:pt>
                <c:pt idx="3">
                  <c:v>1.1653518204229629</c:v>
                </c:pt>
                <c:pt idx="4">
                  <c:v>2.8269650692738129</c:v>
                </c:pt>
              </c:numCache>
            </c:numRef>
          </c:yVal>
          <c:bubbleSize>
            <c:numRef>
              <c:f>Sheet1!$C$2:$C$6</c:f>
              <c:numCache>
                <c:formatCode>General</c:formatCode>
                <c:ptCount val="5"/>
                <c:pt idx="0">
                  <c:v>14585</c:v>
                </c:pt>
                <c:pt idx="1">
                  <c:v>12601</c:v>
                </c:pt>
                <c:pt idx="2">
                  <c:v>10909</c:v>
                </c:pt>
                <c:pt idx="3">
                  <c:v>9851</c:v>
                </c:pt>
                <c:pt idx="4">
                  <c:v>5655</c:v>
                </c:pt>
              </c:numCache>
            </c:numRef>
          </c:bubbleSize>
          <c:bubble3D val="0"/>
          <c:extLst>
            <c:ext xmlns:c15="http://schemas.microsoft.com/office/drawing/2012/chart" uri="{02D57815-91ED-43cb-92C2-25804820EDAC}">
              <c15:datalabelsRange>
                <c15:f>Sheet1!$E$2:$E$10</c15:f>
                <c15:dlblRangeCache>
                  <c:ptCount val="9"/>
                  <c:pt idx="0">
                    <c:v>Gillette Venus</c:v>
                  </c:pt>
                  <c:pt idx="1">
                    <c:v>Universal Prods Mktg</c:v>
                  </c:pt>
                  <c:pt idx="2">
                    <c:v>Universal Razor</c:v>
                  </c:pt>
                  <c:pt idx="3">
                    <c:v>Rem Pl</c:v>
                  </c:pt>
                  <c:pt idx="4">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04FA60-4D15-4E27-8C80-A67B2A162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92C880-10DE-4F65-BF43-07469E113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121FC8-5C16-46C4-AE48-621888DEC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EDEE69-4A67-4517-A775-DB7E2C9E7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037DEA-94C3-4C69-AF86-F39FC1820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E4AD76-39D5-4F55-BAF5-F1BE2AB6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6E2929-77D1-4E57-93D3-FE1066A0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3121A6-1531-4540-AE7D-DA64B4F5A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8400253174571777</c:v>
                </c:pt>
                <c:pt idx="1">
                  <c:v>4.7786335179930637</c:v>
                </c:pt>
                <c:pt idx="2">
                  <c:v>1.604826123494338</c:v>
                </c:pt>
                <c:pt idx="3">
                  <c:v>6.7052038626609436</c:v>
                </c:pt>
              </c:numCache>
            </c:numRef>
          </c:xVal>
          <c:yVal>
            <c:numRef>
              <c:f>Sheet1!$B$2:$B$5</c:f>
              <c:numCache>
                <c:formatCode>General</c:formatCode>
                <c:ptCount val="4"/>
                <c:pt idx="0">
                  <c:v>1.54916997774315</c:v>
                </c:pt>
                <c:pt idx="1">
                  <c:v>0.79017972771597744</c:v>
                </c:pt>
                <c:pt idx="2">
                  <c:v>0.59112854449773555</c:v>
                </c:pt>
                <c:pt idx="3">
                  <c:v>1.173818045380923</c:v>
                </c:pt>
              </c:numCache>
            </c:numRef>
          </c:yVal>
          <c:bubbleSize>
            <c:numRef>
              <c:f>Sheet1!$C$2:$C$5</c:f>
              <c:numCache>
                <c:formatCode>General</c:formatCode>
                <c:ptCount val="4"/>
                <c:pt idx="0">
                  <c:v>122351</c:v>
                </c:pt>
                <c:pt idx="1">
                  <c:v>106100</c:v>
                </c:pt>
                <c:pt idx="2">
                  <c:v>40103</c:v>
                </c:pt>
                <c:pt idx="3">
                  <c:v>24997</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Pbg Pl</c:v>
                  </c:pt>
                  <c:pt idx="3">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E7C4CA-5C9A-4031-956A-2E047A91B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8BA465-B628-443A-A270-BFD4EAFC4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6BBCB0-B32E-4E5F-98D2-6B4F881A4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D47B8C1-F7B6-497D-8F53-F09D0AE2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A41513-75F3-4D7A-8B9B-9909BD4E7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9590DF-3104-4978-9069-D7789B183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939BD4-077A-4398-832B-46190128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91F26D-7514-4005-9CC6-E20414B4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97233649317359</c:v>
                </c:pt>
                <c:pt idx="1">
                  <c:v>5.5741872821801977</c:v>
                </c:pt>
                <c:pt idx="2">
                  <c:v>3.6744858346411169</c:v>
                </c:pt>
              </c:numCache>
            </c:numRef>
          </c:xVal>
          <c:yVal>
            <c:numRef>
              <c:f>Sheet1!$B$2:$B$4</c:f>
              <c:numCache>
                <c:formatCode>General</c:formatCode>
                <c:ptCount val="3"/>
                <c:pt idx="0">
                  <c:v>1.098424382373258</c:v>
                </c:pt>
                <c:pt idx="1">
                  <c:v>0.97514693769277216</c:v>
                </c:pt>
                <c:pt idx="2">
                  <c:v>0.5730915345051385</c:v>
                </c:pt>
              </c:numCache>
            </c:numRef>
          </c:yVal>
          <c:bubbleSize>
            <c:numRef>
              <c:f>Sheet1!$C$2:$C$4</c:f>
              <c:numCache>
                <c:formatCode>General</c:formatCode>
                <c:ptCount val="3"/>
                <c:pt idx="0">
                  <c:v>1103617</c:v>
                </c:pt>
                <c:pt idx="1">
                  <c:v>97565</c:v>
                </c:pt>
                <c:pt idx="2">
                  <c:v>4448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C3A7D3-F8F9-40B9-901B-5CD2E64CC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FECC8A-83EF-462B-A114-3EA979BE8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CD6BBA-36B0-4A83-AEC8-894659CB1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64515A-AA9F-472A-8BF4-8C0F92713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D62C9B-918D-4967-92BC-FAEB9FE3A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DBB0FE-AE3C-4204-9BCE-D553B345D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CCE57B-5F94-4032-B597-CB212B659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D7A6224-A21E-4C20-A7A3-2CFC77E7B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5489519319808061</c:v>
                </c:pt>
                <c:pt idx="1">
                  <c:v>14.356696281671599</c:v>
                </c:pt>
                <c:pt idx="2">
                  <c:v>4.6333037102866026</c:v>
                </c:pt>
                <c:pt idx="3">
                  <c:v>5.260158013544018</c:v>
                </c:pt>
                <c:pt idx="4">
                  <c:v>15.25517890772128</c:v>
                </c:pt>
              </c:numCache>
            </c:numRef>
          </c:xVal>
          <c:yVal>
            <c:numRef>
              <c:f>Sheet1!$B$2:$B$6</c:f>
              <c:numCache>
                <c:formatCode>General</c:formatCode>
                <c:ptCount val="5"/>
                <c:pt idx="0">
                  <c:v>0.81629605704924646</c:v>
                </c:pt>
                <c:pt idx="1">
                  <c:v>2.5930067666787209</c:v>
                </c:pt>
                <c:pt idx="2">
                  <c:v>0.75394636891301936</c:v>
                </c:pt>
                <c:pt idx="3">
                  <c:v>0.85554288625516905</c:v>
                </c:pt>
                <c:pt idx="4">
                  <c:v>1.8541757774325109</c:v>
                </c:pt>
              </c:numCache>
            </c:numRef>
          </c:yVal>
          <c:bubbleSize>
            <c:numRef>
              <c:f>Sheet1!$C$2:$C$6</c:f>
              <c:numCache>
                <c:formatCode>General</c:formatCode>
                <c:ptCount val="5"/>
                <c:pt idx="0">
                  <c:v>77795</c:v>
                </c:pt>
                <c:pt idx="1">
                  <c:v>43630</c:v>
                </c:pt>
                <c:pt idx="2">
                  <c:v>41709</c:v>
                </c:pt>
                <c:pt idx="3">
                  <c:v>18642</c:v>
                </c:pt>
                <c:pt idx="4">
                  <c:v>16201</c:v>
                </c:pt>
              </c:numCache>
            </c:numRef>
          </c:bubbleSize>
          <c:bubble3D val="0"/>
          <c:extLst>
            <c:ext xmlns:c15="http://schemas.microsoft.com/office/drawing/2012/chart" uri="{02D57815-91ED-43cb-92C2-25804820EDAC}">
              <c15:datalabelsRange>
                <c15:f>Sheet1!$E$2:$E$10</c15:f>
                <c15:dlblRangeCache>
                  <c:ptCount val="9"/>
                  <c:pt idx="0">
                    <c:v>Skintimate</c:v>
                  </c:pt>
                  <c:pt idx="1">
                    <c:v>Intuition</c:v>
                  </c:pt>
                  <c:pt idx="2">
                    <c:v>Pbg Pl</c:v>
                  </c:pt>
                  <c:pt idx="3">
                    <c:v>Bic Soleil</c:v>
                  </c:pt>
                  <c:pt idx="4">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C3C376-671E-4D38-BCC7-1CC5A9A8A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645AA0-B496-4FDB-937D-0D07D13EA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63C158-9787-46AC-89A2-52C5F15BC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8531CA-E74C-4115-8FE1-8621E8F1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3CBCD4-4C1D-496A-AFE7-3B85C230A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3E5151-BB3B-4DB5-84F4-BDB8CE7F1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F24161-B6D9-4BEB-BB1E-F3D23753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F4E9D6-9103-43B1-B3A8-618888C97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91101030228516</c:v>
                </c:pt>
                <c:pt idx="1">
                  <c:v>5.39702890565398</c:v>
                </c:pt>
                <c:pt idx="2">
                  <c:v>13.0840869732538</c:v>
                </c:pt>
                <c:pt idx="3">
                  <c:v>8.6176555716353107</c:v>
                </c:pt>
              </c:numCache>
            </c:numRef>
          </c:xVal>
          <c:yVal>
            <c:numRef>
              <c:f>Sheet1!$B$2:$B$5</c:f>
              <c:numCache>
                <c:formatCode>General</c:formatCode>
                <c:ptCount val="4"/>
                <c:pt idx="0">
                  <c:v>1.7269587019615711</c:v>
                </c:pt>
                <c:pt idx="1">
                  <c:v>0.63438455668959459</c:v>
                </c:pt>
                <c:pt idx="2">
                  <c:v>1.523056550606561</c:v>
                </c:pt>
                <c:pt idx="3">
                  <c:v>1.2854336489628491</c:v>
                </c:pt>
              </c:numCache>
            </c:numRef>
          </c:yVal>
          <c:bubbleSize>
            <c:numRef>
              <c:f>Sheet1!$C$2:$C$5</c:f>
              <c:numCache>
                <c:formatCode>General</c:formatCode>
                <c:ptCount val="4"/>
                <c:pt idx="0">
                  <c:v>351706</c:v>
                </c:pt>
                <c:pt idx="1">
                  <c:v>254675</c:v>
                </c:pt>
                <c:pt idx="2">
                  <c:v>67998</c:v>
                </c:pt>
                <c:pt idx="3">
                  <c:v>2977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D1369-C5A6-4511-AFBA-857D17361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EF92103-C122-4F70-AF29-76B471BA4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EFA71CA-8B34-49D5-B394-0DDC6ABD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04CFE6-2378-44E2-8956-A9EA039B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990F6B-CB1D-4687-830B-9822B374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4B13BF-B827-473F-9BA4-2E68ADF35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A9DA39-F2A1-49D6-8511-45054A9C7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854BF0-D0E2-48DD-AA8D-C977912C0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314870840121021</c:v>
                </c:pt>
              </c:numCache>
            </c:numRef>
          </c:xVal>
          <c:yVal>
            <c:numRef>
              <c:f>Sheet1!$B$2:$B$2</c:f>
              <c:numCache>
                <c:formatCode>General</c:formatCode>
                <c:ptCount val="1"/>
                <c:pt idx="0">
                  <c:v>1</c:v>
                </c:pt>
              </c:numCache>
            </c:numRef>
          </c:yVal>
          <c:bubbleSize>
            <c:numRef>
              <c:f>Sheet1!$C$2:$C$2</c:f>
              <c:numCache>
                <c:formatCode>General</c:formatCode>
                <c:ptCount val="1"/>
                <c:pt idx="0">
                  <c:v>44323</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3868D2-6BE8-45F8-BE62-3ED2983D8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D96811-DD0B-4EA4-8B44-068B1184B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58AA5B-681A-46AE-B733-2F83C213D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6180F7-A7C6-4035-9B5E-A10BDBADA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42979B-43BA-4501-8572-8F55ABA60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EFB39C-328A-44D2-8C15-5067FB375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E82E2D-9787-4D39-B380-7231EBADE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980161-E3AE-4122-9CB2-F4843EAB2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482170935392572</c:v>
                </c:pt>
                <c:pt idx="1">
                  <c:v>5.3827990869048001</c:v>
                </c:pt>
                <c:pt idx="2">
                  <c:v>5.9793434615225403</c:v>
                </c:pt>
                <c:pt idx="3">
                  <c:v>2.8369671029250432</c:v>
                </c:pt>
                <c:pt idx="4">
                  <c:v>5.0999122122512679</c:v>
                </c:pt>
                <c:pt idx="5">
                  <c:v>4.9631068715637321</c:v>
                </c:pt>
                <c:pt idx="6">
                  <c:v>10.91861686483761</c:v>
                </c:pt>
                <c:pt idx="7">
                  <c:v>2.9443701130519111</c:v>
                </c:pt>
                <c:pt idx="8">
                  <c:v>14.91345764085934</c:v>
                </c:pt>
              </c:numCache>
            </c:numRef>
          </c:xVal>
          <c:yVal>
            <c:numRef>
              <c:f>Sheet1!$B$2:$B$10</c:f>
              <c:numCache>
                <c:formatCode>General</c:formatCode>
                <c:ptCount val="9"/>
                <c:pt idx="0">
                  <c:v>1.150174135067334</c:v>
                </c:pt>
                <c:pt idx="1">
                  <c:v>1.076291314366143</c:v>
                </c:pt>
                <c:pt idx="2">
                  <c:v>1.7936161997659681</c:v>
                </c:pt>
                <c:pt idx="3">
                  <c:v>0.57710623029990205</c:v>
                </c:pt>
                <c:pt idx="4">
                  <c:v>0.61190517543089884</c:v>
                </c:pt>
                <c:pt idx="5">
                  <c:v>0.99241828482280592</c:v>
                </c:pt>
                <c:pt idx="6">
                  <c:v>2.1829622323929812</c:v>
                </c:pt>
                <c:pt idx="7">
                  <c:v>0.88321169376039388</c:v>
                </c:pt>
                <c:pt idx="8">
                  <c:v>3.7504674748751952</c:v>
                </c:pt>
              </c:numCache>
            </c:numRef>
          </c:yVal>
          <c:bubbleSize>
            <c:numRef>
              <c:f>Sheet1!$C$2:$C$10</c:f>
              <c:numCache>
                <c:formatCode>General</c:formatCode>
                <c:ptCount val="9"/>
                <c:pt idx="0">
                  <c:v>1567913</c:v>
                </c:pt>
                <c:pt idx="1">
                  <c:v>837106</c:v>
                </c:pt>
                <c:pt idx="2">
                  <c:v>577772</c:v>
                </c:pt>
                <c:pt idx="3">
                  <c:v>550800</c:v>
                </c:pt>
                <c:pt idx="4">
                  <c:v>522843</c:v>
                </c:pt>
                <c:pt idx="5">
                  <c:v>510932</c:v>
                </c:pt>
                <c:pt idx="6">
                  <c:v>259874</c:v>
                </c:pt>
                <c:pt idx="7">
                  <c:v>239869</c:v>
                </c:pt>
                <c:pt idx="8">
                  <c:v>14716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Rem Pl</c:v>
                  </c:pt>
                  <c:pt idx="4">
                    <c:v>Evribeauty</c:v>
                  </c:pt>
                  <c:pt idx="5">
                    <c:v>Clio</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8349E3-6964-416B-A38F-D152EC432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650E8C-AC28-4FA1-B15B-9C9E04D0B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A00EC2-7FF3-47C1-84D8-996870EC7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EDFF9C-6689-48FD-A711-0FD5117BD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B060E0D-C97F-49C4-9E0C-8544E672F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8974CD-45FF-4886-89DD-236A98B1C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D4196C-A673-4415-95E2-7AA81B14D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7D4C03C-63C0-4244-B3CC-63C28A4E2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688599974816208</c:v>
                </c:pt>
                <c:pt idx="1">
                  <c:v>7.3690579579744053</c:v>
                </c:pt>
                <c:pt idx="2">
                  <c:v>1.535106940309678</c:v>
                </c:pt>
                <c:pt idx="3">
                  <c:v>14.97198851019618</c:v>
                </c:pt>
              </c:numCache>
            </c:numRef>
          </c:xVal>
          <c:yVal>
            <c:numRef>
              <c:f>Sheet1!$B$2:$B$5</c:f>
              <c:numCache>
                <c:formatCode>General</c:formatCode>
                <c:ptCount val="4"/>
                <c:pt idx="0">
                  <c:v>0.65337771549356694</c:v>
                </c:pt>
                <c:pt idx="1">
                  <c:v>3.236650213134014</c:v>
                </c:pt>
                <c:pt idx="2">
                  <c:v>0.53086417451602641</c:v>
                </c:pt>
                <c:pt idx="3">
                  <c:v>1.9160357357744651</c:v>
                </c:pt>
              </c:numCache>
            </c:numRef>
          </c:yVal>
          <c:bubbleSize>
            <c:numRef>
              <c:f>Sheet1!$C$2:$C$5</c:f>
              <c:numCache>
                <c:formatCode>General</c:formatCode>
                <c:ptCount val="4"/>
                <c:pt idx="0">
                  <c:v>3112807</c:v>
                </c:pt>
                <c:pt idx="1">
                  <c:v>2825540</c:v>
                </c:pt>
                <c:pt idx="2">
                  <c:v>738411</c:v>
                </c:pt>
                <c:pt idx="3">
                  <c:v>734930</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22150D-5256-4D9B-9E15-F83491E20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BD1C4C-0FE9-42BD-9F6A-7AED564B5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720A73-AD75-411C-80CC-33D9B45B3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BF75CC-3E41-4EC4-84B6-9DF0FE35D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CE901E-0F95-42C8-BCB7-BC58DE526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DCF4C-D4F4-494D-B5AA-35E1F276C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4E1B48-1474-48E6-8D9A-3A08E0C69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B9DE04-8F6E-4A8E-9338-8D5C3A048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9693515143840932</c:v>
                </c:pt>
                <c:pt idx="1">
                  <c:v>9.2296534810640818</c:v>
                </c:pt>
                <c:pt idx="2">
                  <c:v>6.6303029572387846</c:v>
                </c:pt>
                <c:pt idx="3">
                  <c:v>11.98925420841789</c:v>
                </c:pt>
                <c:pt idx="4">
                  <c:v>14.99654659770186</c:v>
                </c:pt>
                <c:pt idx="5">
                  <c:v>7.8593460474928021</c:v>
                </c:pt>
              </c:numCache>
            </c:numRef>
          </c:xVal>
          <c:yVal>
            <c:numRef>
              <c:f>Sheet1!$B$2:$B$7</c:f>
              <c:numCache>
                <c:formatCode>General</c:formatCode>
                <c:ptCount val="6"/>
                <c:pt idx="0">
                  <c:v>1.6602594109060109</c:v>
                </c:pt>
                <c:pt idx="1">
                  <c:v>1.0990095873483889</c:v>
                </c:pt>
                <c:pt idx="2">
                  <c:v>0.22861900671308161</c:v>
                </c:pt>
                <c:pt idx="3">
                  <c:v>2.345307237162598</c:v>
                </c:pt>
                <c:pt idx="4">
                  <c:v>0.72925920513499354</c:v>
                </c:pt>
                <c:pt idx="5">
                  <c:v>2.3221792890214372</c:v>
                </c:pt>
              </c:numCache>
            </c:numRef>
          </c:yVal>
          <c:bubbleSize>
            <c:numRef>
              <c:f>Sheet1!$C$2:$C$7</c:f>
              <c:numCache>
                <c:formatCode>General</c:formatCode>
                <c:ptCount val="6"/>
                <c:pt idx="0">
                  <c:v>10447517</c:v>
                </c:pt>
                <c:pt idx="1">
                  <c:v>7383852</c:v>
                </c:pt>
                <c:pt idx="2">
                  <c:v>1649931</c:v>
                </c:pt>
                <c:pt idx="3">
                  <c:v>1140262</c:v>
                </c:pt>
                <c:pt idx="4">
                  <c:v>968387</c:v>
                </c:pt>
                <c:pt idx="5">
                  <c:v>2756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Bic Silky Touch</c:v>
                  </c:pt>
                  <c:pt idx="3">
                    <c:v>Hydro Silk</c:v>
                  </c:pt>
                  <c:pt idx="4">
                    <c:v>Daisy</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4E9ED8-50EF-403A-B5C3-939E313FF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426B70-F4FC-4DDC-907E-365ACFB44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707B95-36F6-4E8D-A54B-EA6EDC1D4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0581FF-C374-4E71-82E5-F6F492D19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1357A13-5BC8-483A-8492-5D6DA35F4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4B5FE0-717B-4A1F-9D04-9DC6E997A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122F84-0D1A-4E32-B4CD-95257870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C80536-D79B-4F98-BCD9-3001BDF6C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600807119470911</c:v>
                </c:pt>
                <c:pt idx="1">
                  <c:v>5.6201468522962257</c:v>
                </c:pt>
                <c:pt idx="2">
                  <c:v>3.8318781996696449</c:v>
                </c:pt>
              </c:numCache>
            </c:numRef>
          </c:xVal>
          <c:yVal>
            <c:numRef>
              <c:f>Sheet1!$B$2:$B$4</c:f>
              <c:numCache>
                <c:formatCode>General</c:formatCode>
                <c:ptCount val="3"/>
                <c:pt idx="0">
                  <c:v>1.2574093659350529</c:v>
                </c:pt>
                <c:pt idx="1">
                  <c:v>0.6935713840269605</c:v>
                </c:pt>
                <c:pt idx="2">
                  <c:v>0.59124437159321841</c:v>
                </c:pt>
              </c:numCache>
            </c:numRef>
          </c:yVal>
          <c:bubbleSize>
            <c:numRef>
              <c:f>Sheet1!$C$2:$C$4</c:f>
              <c:numCache>
                <c:formatCode>General</c:formatCode>
                <c:ptCount val="3"/>
                <c:pt idx="0">
                  <c:v>13842291</c:v>
                </c:pt>
                <c:pt idx="1">
                  <c:v>4065884</c:v>
                </c:pt>
                <c:pt idx="2">
                  <c:v>149398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12039A-381A-4C5A-8D35-9EF6A143E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7135FF-DB07-42CD-BC0C-64343DD1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35D1B6-9717-4031-B4EB-0B350E26A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576F63-E14E-4832-BC62-253732FCF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93E663-2E6D-4ACD-8D49-139D64FB9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2330D4-BBA8-4976-8C22-71465C59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A0AD66-372D-4243-9D67-ABA6DAE62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349173-1C59-4D1D-91BD-986BD8A2A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73692613881091</c:v>
                </c:pt>
                <c:pt idx="1">
                  <c:v>6.7631466623777508</c:v>
                </c:pt>
                <c:pt idx="2">
                  <c:v>5.0114394253152623</c:v>
                </c:pt>
                <c:pt idx="3">
                  <c:v>5.6794360751175752</c:v>
                </c:pt>
                <c:pt idx="4">
                  <c:v>14.96591598786136</c:v>
                </c:pt>
                <c:pt idx="5">
                  <c:v>6.0252535467652919</c:v>
                </c:pt>
              </c:numCache>
            </c:numRef>
          </c:xVal>
          <c:yVal>
            <c:numRef>
              <c:f>Sheet1!$B$2:$B$7</c:f>
              <c:numCache>
                <c:formatCode>General</c:formatCode>
                <c:ptCount val="6"/>
                <c:pt idx="0">
                  <c:v>1.660862517298922</c:v>
                </c:pt>
                <c:pt idx="1">
                  <c:v>0.57634258675883043</c:v>
                </c:pt>
                <c:pt idx="2">
                  <c:v>0.56000568973184695</c:v>
                </c:pt>
                <c:pt idx="3">
                  <c:v>0.68626868066316171</c:v>
                </c:pt>
                <c:pt idx="4">
                  <c:v>1.502741048647378</c:v>
                </c:pt>
                <c:pt idx="5">
                  <c:v>0.81443151763995247</c:v>
                </c:pt>
              </c:numCache>
            </c:numRef>
          </c:yVal>
          <c:bubbleSize>
            <c:numRef>
              <c:f>Sheet1!$C$2:$C$7</c:f>
              <c:numCache>
                <c:formatCode>General</c:formatCode>
                <c:ptCount val="6"/>
                <c:pt idx="0">
                  <c:v>5145387</c:v>
                </c:pt>
                <c:pt idx="1">
                  <c:v>1093310</c:v>
                </c:pt>
                <c:pt idx="2">
                  <c:v>1052718</c:v>
                </c:pt>
                <c:pt idx="3">
                  <c:v>1045800</c:v>
                </c:pt>
                <c:pt idx="4">
                  <c:v>468508</c:v>
                </c:pt>
                <c:pt idx="5">
                  <c:v>417056</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Pbg Pl</c:v>
                  </c:pt>
                  <c:pt idx="3">
                    <c:v>Bic Solei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995D8A-9B3C-407D-824E-2B3E9C05C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BC8694-87F8-46A4-94BC-B177415B2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528885-2F70-4DFA-9313-F300E3DFE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E18AFD-EBCB-4D69-BD04-D4BF4F656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35B33E-C328-4EB4-962A-3B0B4D117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527935-6FE2-4B2E-A81D-4292456B5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197315-1C7F-4DE1-A521-38DBB4E36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9F813E-A38D-4FE7-807F-9C7873ADF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83448253718524</c:v>
                </c:pt>
                <c:pt idx="1">
                  <c:v>10.692847277157369</c:v>
                </c:pt>
                <c:pt idx="2">
                  <c:v>5.6769862933039494</c:v>
                </c:pt>
                <c:pt idx="3">
                  <c:v>10.35348719615704</c:v>
                </c:pt>
                <c:pt idx="4">
                  <c:v>12.392605283319361</c:v>
                </c:pt>
                <c:pt idx="5">
                  <c:v>7.429789857786794</c:v>
                </c:pt>
                <c:pt idx="6">
                  <c:v>10.81698312823654</c:v>
                </c:pt>
              </c:numCache>
            </c:numRef>
          </c:xVal>
          <c:yVal>
            <c:numRef>
              <c:f>Sheet1!$B$2:$B$8</c:f>
              <c:numCache>
                <c:formatCode>General</c:formatCode>
                <c:ptCount val="7"/>
                <c:pt idx="0">
                  <c:v>1.7641703462994891</c:v>
                </c:pt>
                <c:pt idx="1">
                  <c:v>1.010525826943627</c:v>
                </c:pt>
                <c:pt idx="2">
                  <c:v>0.56691360407188751</c:v>
                </c:pt>
                <c:pt idx="3">
                  <c:v>0.89686762313671275</c:v>
                </c:pt>
                <c:pt idx="4">
                  <c:v>1.4736862258798069</c:v>
                </c:pt>
                <c:pt idx="5">
                  <c:v>0.8678221311278087</c:v>
                </c:pt>
                <c:pt idx="6">
                  <c:v>1.045174422399783</c:v>
                </c:pt>
              </c:numCache>
            </c:numRef>
          </c:yVal>
          <c:bubbleSize>
            <c:numRef>
              <c:f>Sheet1!$C$2:$C$8</c:f>
              <c:numCache>
                <c:formatCode>General</c:formatCode>
                <c:ptCount val="7"/>
                <c:pt idx="0">
                  <c:v>8617430</c:v>
                </c:pt>
                <c:pt idx="1">
                  <c:v>5906932</c:v>
                </c:pt>
                <c:pt idx="2">
                  <c:v>5399200</c:v>
                </c:pt>
                <c:pt idx="3">
                  <c:v>4299855</c:v>
                </c:pt>
                <c:pt idx="4">
                  <c:v>4108570</c:v>
                </c:pt>
                <c:pt idx="5">
                  <c:v>3530651</c:v>
                </c:pt>
                <c:pt idx="6">
                  <c:v>97131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42BA3E-467C-4002-90E0-A02F583EA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FC3A1A-4960-41B5-9C2B-842192844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DD8A9E6-B0F7-440A-B332-031A82BF3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D562B6A-E3F8-4418-867B-C6EE7167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FE3F58-0AF6-42AE-AF7F-EF6F56BA8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396EA0-FF59-4461-925E-CC0133C84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1BEC15-6B2A-4E94-8D5E-C334304EB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08AE7D-7663-45E7-BA6A-F21B46A62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5983104582242</c:v>
                </c:pt>
                <c:pt idx="1">
                  <c:v>9.0203879960472246</c:v>
                </c:pt>
              </c:numCache>
            </c:numRef>
          </c:xVal>
          <c:yVal>
            <c:numRef>
              <c:f>Sheet1!$B$2:$B$3</c:f>
              <c:numCache>
                <c:formatCode>General</c:formatCode>
                <c:ptCount val="2"/>
                <c:pt idx="0">
                  <c:v>1.0973670613445501</c:v>
                </c:pt>
                <c:pt idx="1">
                  <c:v>0.87245706701536963</c:v>
                </c:pt>
              </c:numCache>
            </c:numRef>
          </c:yVal>
          <c:bubbleSize>
            <c:numRef>
              <c:f>Sheet1!$C$2:$C$3</c:f>
              <c:numCache>
                <c:formatCode>General</c:formatCode>
                <c:ptCount val="2"/>
                <c:pt idx="0">
                  <c:v>571808</c:v>
                </c:pt>
                <c:pt idx="1">
                  <c:v>3468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81A12D-B795-4057-92CF-EF121DDA5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5FDDD8-4A2B-43CA-8252-68850691F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F8E997-62F8-4C8A-A364-4A6EF2551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4FC926-B733-4648-BCAC-BB5A13717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1E0432-6186-4CDA-92F2-C17C9DC3A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12037C-604B-44FE-BB0B-086A90D8F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6BB28C-793E-49E2-A7B6-8DF920A63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8275AB-6028-47E9-8914-B6B3F990A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823224799037606</c:v>
                </c:pt>
                <c:pt idx="1">
                  <c:v>5.405395246474078</c:v>
                </c:pt>
                <c:pt idx="2">
                  <c:v>4.9614990990990986</c:v>
                </c:pt>
                <c:pt idx="3">
                  <c:v>5.9800729344933563</c:v>
                </c:pt>
                <c:pt idx="4">
                  <c:v>2.834974574024534</c:v>
                </c:pt>
                <c:pt idx="5">
                  <c:v>5.1150593699338387</c:v>
                </c:pt>
                <c:pt idx="6">
                  <c:v>10.93456703653187</c:v>
                </c:pt>
                <c:pt idx="7">
                  <c:v>2.9180850245580112</c:v>
                </c:pt>
                <c:pt idx="8">
                  <c:v>14.9033203125</c:v>
                </c:pt>
              </c:numCache>
            </c:numRef>
          </c:xVal>
          <c:yVal>
            <c:numRef>
              <c:f>Sheet1!$B$2:$B$10</c:f>
              <c:numCache>
                <c:formatCode>General</c:formatCode>
                <c:ptCount val="9"/>
                <c:pt idx="0">
                  <c:v>1.1458733343744021</c:v>
                </c:pt>
                <c:pt idx="1">
                  <c:v>1.072966943061866</c:v>
                </c:pt>
                <c:pt idx="2">
                  <c:v>0.9848531504600383</c:v>
                </c:pt>
                <c:pt idx="3">
                  <c:v>1.780706817186666</c:v>
                </c:pt>
                <c:pt idx="4">
                  <c:v>0.57237379315684167</c:v>
                </c:pt>
                <c:pt idx="5">
                  <c:v>0.6092330064049466</c:v>
                </c:pt>
                <c:pt idx="6">
                  <c:v>2.1703989918378088</c:v>
                </c:pt>
                <c:pt idx="7">
                  <c:v>0.86891283543085407</c:v>
                </c:pt>
                <c:pt idx="8">
                  <c:v>3.657329660068612</c:v>
                </c:pt>
              </c:numCache>
            </c:numRef>
          </c:yVal>
          <c:bubbleSize>
            <c:numRef>
              <c:f>Sheet1!$C$2:$C$10</c:f>
              <c:numCache>
                <c:formatCode>General</c:formatCode>
                <c:ptCount val="9"/>
                <c:pt idx="0">
                  <c:v>1727752</c:v>
                </c:pt>
                <c:pt idx="1">
                  <c:v>992263</c:v>
                </c:pt>
                <c:pt idx="2">
                  <c:v>688408</c:v>
                </c:pt>
                <c:pt idx="3">
                  <c:v>667418</c:v>
                </c:pt>
                <c:pt idx="4">
                  <c:v>588158</c:v>
                </c:pt>
                <c:pt idx="5">
                  <c:v>583705</c:v>
                </c:pt>
                <c:pt idx="6">
                  <c:v>296622</c:v>
                </c:pt>
                <c:pt idx="7">
                  <c:v>265572</c:v>
                </c:pt>
                <c:pt idx="8">
                  <c:v>16787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Clio</c:v>
                  </c:pt>
                  <c:pt idx="3">
                    <c:v>Revlon</c:v>
                  </c:pt>
                  <c:pt idx="4">
                    <c:v>Rem Pl</c:v>
                  </c:pt>
                  <c:pt idx="5">
                    <c:v>Evribeauty</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C6E355-652C-4F55-B845-B62E8D491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D04D69-99AC-4925-A7EE-364912162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C7E7BF-1E60-41E0-AE6D-B47F9103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A62FCA-791B-424D-A649-7CD016178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60FDA5-58E3-4BBA-BCA9-C0B479A6A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795DA5-B42C-497A-9680-5D5C4A795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DFF38C-3B35-459F-8004-13F50F7D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13C0DF-FB48-45CA-A9B4-735AC9366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61471805243723</c:v>
                </c:pt>
                <c:pt idx="1">
                  <c:v>7.1794241786931616</c:v>
                </c:pt>
                <c:pt idx="2">
                  <c:v>1.5028878783844699</c:v>
                </c:pt>
                <c:pt idx="3">
                  <c:v>14.970950494104169</c:v>
                </c:pt>
              </c:numCache>
            </c:numRef>
          </c:xVal>
          <c:yVal>
            <c:numRef>
              <c:f>Sheet1!$B$2:$B$5</c:f>
              <c:numCache>
                <c:formatCode>General</c:formatCode>
                <c:ptCount val="4"/>
                <c:pt idx="0">
                  <c:v>0.67213565704527611</c:v>
                </c:pt>
                <c:pt idx="1">
                  <c:v>3.260634967182011</c:v>
                </c:pt>
                <c:pt idx="2">
                  <c:v>0.54314220982168704</c:v>
                </c:pt>
                <c:pt idx="3">
                  <c:v>1.968774910993663</c:v>
                </c:pt>
              </c:numCache>
            </c:numRef>
          </c:yVal>
          <c:bubbleSize>
            <c:numRef>
              <c:f>Sheet1!$C$2:$C$5</c:f>
              <c:numCache>
                <c:formatCode>General</c:formatCode>
                <c:ptCount val="4"/>
                <c:pt idx="0">
                  <c:v>3040755</c:v>
                </c:pt>
                <c:pt idx="1">
                  <c:v>2474927</c:v>
                </c:pt>
                <c:pt idx="2">
                  <c:v>643490</c:v>
                </c:pt>
                <c:pt idx="3">
                  <c:v>627193</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37548A-DCA4-4356-8723-BAFEFDF73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B6B1AE-1977-4404-B9DC-2AF816445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702E3-E490-4B15-91E6-32AF6DC8A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B4DE17-3A94-44B9-85A8-BD86E729A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BD7F3A-B384-4868-AF7B-46BC3CFD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2D44E3-6002-4561-85C1-82D7BF804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B7DAAE-8E71-43B3-AC68-D18D52832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77F67E-0F51-41FD-B111-08DC1EC84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240616386278369</c:v>
                </c:pt>
                <c:pt idx="1">
                  <c:v>5.606764715847488</c:v>
                </c:pt>
                <c:pt idx="2">
                  <c:v>3.8316034557044532</c:v>
                </c:pt>
              </c:numCache>
            </c:numRef>
          </c:xVal>
          <c:yVal>
            <c:numRef>
              <c:f>Sheet1!$B$2:$B$4</c:f>
              <c:numCache>
                <c:formatCode>General</c:formatCode>
                <c:ptCount val="3"/>
                <c:pt idx="0">
                  <c:v>1.272336463789828</c:v>
                </c:pt>
                <c:pt idx="1">
                  <c:v>0.70384504787486957</c:v>
                </c:pt>
                <c:pt idx="2">
                  <c:v>0.60128374906820581</c:v>
                </c:pt>
              </c:numCache>
            </c:numRef>
          </c:yVal>
          <c:bubbleSize>
            <c:numRef>
              <c:f>Sheet1!$C$2:$C$4</c:f>
              <c:numCache>
                <c:formatCode>General</c:formatCode>
                <c:ptCount val="3"/>
                <c:pt idx="0">
                  <c:v>12120860</c:v>
                </c:pt>
                <c:pt idx="1">
                  <c:v>3971563</c:v>
                </c:pt>
                <c:pt idx="2">
                  <c:v>138730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B09201-E0BA-4699-9F94-96DFA536D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D44E63-B730-49BB-B7D0-FA4141753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835513-C260-4F90-9D2E-ADE1C748F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3D5B11-ED93-47B5-B7D7-18497ECE0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CFB40D-841F-43DC-8E45-25B5AEA21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25017E-5EE2-4414-828C-550A4C0EC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644331-961A-4AA3-B5CA-0FF7B214E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7583A0-A3B8-4C08-B853-E8473EFDF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732221298053179</c:v>
                </c:pt>
                <c:pt idx="1">
                  <c:v>6.6791501144451324</c:v>
                </c:pt>
                <c:pt idx="2">
                  <c:v>5.6850232591727803</c:v>
                </c:pt>
                <c:pt idx="3">
                  <c:v>5.0512426438946418</c:v>
                </c:pt>
                <c:pt idx="4">
                  <c:v>14.9518964987715</c:v>
                </c:pt>
                <c:pt idx="5">
                  <c:v>5.9162559963326187</c:v>
                </c:pt>
              </c:numCache>
            </c:numRef>
          </c:xVal>
          <c:yVal>
            <c:numRef>
              <c:f>Sheet1!$B$2:$B$7</c:f>
              <c:numCache>
                <c:formatCode>General</c:formatCode>
                <c:ptCount val="6"/>
                <c:pt idx="0">
                  <c:v>1.7135682700519219</c:v>
                </c:pt>
                <c:pt idx="1">
                  <c:v>0.59318462510083469</c:v>
                </c:pt>
                <c:pt idx="2">
                  <c:v>0.70918611711598034</c:v>
                </c:pt>
                <c:pt idx="3">
                  <c:v>0.57873142431141511</c:v>
                </c:pt>
                <c:pt idx="4">
                  <c:v>1.5533226190148071</c:v>
                </c:pt>
                <c:pt idx="5">
                  <c:v>0.84463270136880098</c:v>
                </c:pt>
              </c:numCache>
            </c:numRef>
          </c:yVal>
          <c:bubbleSize>
            <c:numRef>
              <c:f>Sheet1!$C$2:$C$7</c:f>
              <c:numCache>
                <c:formatCode>General</c:formatCode>
                <c:ptCount val="6"/>
                <c:pt idx="0">
                  <c:v>3918774</c:v>
                </c:pt>
                <c:pt idx="1">
                  <c:v>960041</c:v>
                </c:pt>
                <c:pt idx="2">
                  <c:v>944686</c:v>
                </c:pt>
                <c:pt idx="3">
                  <c:v>903834</c:v>
                </c:pt>
                <c:pt idx="4">
                  <c:v>389467</c:v>
                </c:pt>
                <c:pt idx="5">
                  <c:v>361359</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9AFCF5-DF21-499E-84C0-75E9FB415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A8417C-D8F1-4DDC-9878-E0D2CABCF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FDD8D0-89DB-4DE6-950C-2B8FD4715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22A159-1920-4369-AEA2-7F4EF7423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5CA990-2D99-482D-BE3F-5EACC5530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144139-F640-4772-9FCC-B1F3E7547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9D753-D773-44D1-9F19-491432EA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D2A355-1DCA-4321-9326-69473290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94924966870814</c:v>
                </c:pt>
                <c:pt idx="1">
                  <c:v>10.684905724171349</c:v>
                </c:pt>
                <c:pt idx="2">
                  <c:v>5.666194600445734</c:v>
                </c:pt>
                <c:pt idx="3">
                  <c:v>12.49655186212784</c:v>
                </c:pt>
                <c:pt idx="4">
                  <c:v>10.40851935216368</c:v>
                </c:pt>
                <c:pt idx="5">
                  <c:v>7.3621403511235624</c:v>
                </c:pt>
                <c:pt idx="6">
                  <c:v>10.811830455696789</c:v>
                </c:pt>
              </c:numCache>
            </c:numRef>
          </c:xVal>
          <c:yVal>
            <c:numRef>
              <c:f>Sheet1!$B$2:$B$8</c:f>
              <c:numCache>
                <c:formatCode>General</c:formatCode>
                <c:ptCount val="7"/>
                <c:pt idx="0">
                  <c:v>1.7590969823392271</c:v>
                </c:pt>
                <c:pt idx="1">
                  <c:v>1.0075451920478951</c:v>
                </c:pt>
                <c:pt idx="2">
                  <c:v>0.56167313257690443</c:v>
                </c:pt>
                <c:pt idx="3">
                  <c:v>1.485285290168499</c:v>
                </c:pt>
                <c:pt idx="4">
                  <c:v>0.89027645218822105</c:v>
                </c:pt>
                <c:pt idx="5">
                  <c:v>0.86374089978757074</c:v>
                </c:pt>
                <c:pt idx="6">
                  <c:v>1.0396408079324071</c:v>
                </c:pt>
              </c:numCache>
            </c:numRef>
          </c:yVal>
          <c:bubbleSize>
            <c:numRef>
              <c:f>Sheet1!$C$2:$C$8</c:f>
              <c:numCache>
                <c:formatCode>General</c:formatCode>
                <c:ptCount val="7"/>
                <c:pt idx="0">
                  <c:v>7400063</c:v>
                </c:pt>
                <c:pt idx="1">
                  <c:v>4740305</c:v>
                </c:pt>
                <c:pt idx="2">
                  <c:v>4533120</c:v>
                </c:pt>
                <c:pt idx="3">
                  <c:v>3747366</c:v>
                </c:pt>
                <c:pt idx="4">
                  <c:v>3690174</c:v>
                </c:pt>
                <c:pt idx="5">
                  <c:v>3145526</c:v>
                </c:pt>
                <c:pt idx="6">
                  <c:v>93053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6E2D78-27B4-4B50-B4F4-DDA70BF89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2713FF-5591-4993-AD5F-01F6E3F9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733C4B0-E31E-41DF-94DF-8680D404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F0D45B7-FA89-4CDB-9083-4B4E36A40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0A1F633-CE70-4237-843F-7378335E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E1398E-1F3B-46BD-92AB-8AB76B91D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0FD7B4-2887-415A-824D-0AEAE764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64837C-285F-4CA4-AF93-D58A8C4EC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39461453492009</c:v>
                </c:pt>
                <c:pt idx="1">
                  <c:v>8.373040270519521</c:v>
                </c:pt>
              </c:numCache>
            </c:numRef>
          </c:xVal>
          <c:yVal>
            <c:numRef>
              <c:f>Sheet1!$B$2:$B$3</c:f>
              <c:numCache>
                <c:formatCode>General</c:formatCode>
                <c:ptCount val="2"/>
                <c:pt idx="0">
                  <c:v>1.0918527637015909</c:v>
                </c:pt>
                <c:pt idx="1">
                  <c:v>0.86380380883845453</c:v>
                </c:pt>
              </c:numCache>
            </c:numRef>
          </c:yVal>
          <c:bubbleSize>
            <c:numRef>
              <c:f>Sheet1!$C$2:$C$3</c:f>
              <c:numCache>
                <c:formatCode>General</c:formatCode>
                <c:ptCount val="2"/>
                <c:pt idx="0">
                  <c:v>510492</c:v>
                </c:pt>
                <c:pt idx="1">
                  <c:v>27237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84E1B7-60D6-4E99-99F8-A726A37A9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6A17E5-6B37-4E65-AFE5-F1DE1F7C3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452D4B-D5DD-407B-BB8F-B7142B709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288C47-FF89-4D6C-BED7-DC05359FE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C93BEF-2E66-4754-9005-606F53243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A7A100-90D6-4A0E-BAA8-2D511EA7F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921DE8-5317-44F9-A196-89421DFD0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1004A3-0A84-4C45-9096-5CCFB257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63960637336146</c:v>
                </c:pt>
                <c:pt idx="1">
                  <c:v>16.940253425923661</c:v>
                </c:pt>
                <c:pt idx="2">
                  <c:v>15.94006376009772</c:v>
                </c:pt>
                <c:pt idx="3">
                  <c:v>13.30728580567385</c:v>
                </c:pt>
                <c:pt idx="4">
                  <c:v>15.91784377759401</c:v>
                </c:pt>
                <c:pt idx="5">
                  <c:v>10.82733213749561</c:v>
                </c:pt>
                <c:pt idx="6">
                  <c:v>15.886072655919691</c:v>
                </c:pt>
                <c:pt idx="7">
                  <c:v>13.86797323888233</c:v>
                </c:pt>
              </c:numCache>
            </c:numRef>
          </c:xVal>
          <c:yVal>
            <c:numRef>
              <c:f>Sheet1!$B$2:$B$9</c:f>
              <c:numCache>
                <c:formatCode>General</c:formatCode>
                <c:ptCount val="8"/>
                <c:pt idx="0">
                  <c:v>1.4740926851036871</c:v>
                </c:pt>
                <c:pt idx="1">
                  <c:v>1.0091074074111741</c:v>
                </c:pt>
                <c:pt idx="2">
                  <c:v>1.2256953010245011</c:v>
                </c:pt>
                <c:pt idx="3">
                  <c:v>0.52045975447940807</c:v>
                </c:pt>
                <c:pt idx="4">
                  <c:v>0.923422328210178</c:v>
                </c:pt>
                <c:pt idx="5">
                  <c:v>0.41429930355564282</c:v>
                </c:pt>
                <c:pt idx="6">
                  <c:v>0.78357236489616455</c:v>
                </c:pt>
                <c:pt idx="7">
                  <c:v>0.67045855074937277</c:v>
                </c:pt>
              </c:numCache>
            </c:numRef>
          </c:yVal>
          <c:bubbleSize>
            <c:numRef>
              <c:f>Sheet1!$C$2:$C$9</c:f>
              <c:numCache>
                <c:formatCode>General</c:formatCode>
                <c:ptCount val="8"/>
                <c:pt idx="0">
                  <c:v>49484427</c:v>
                </c:pt>
                <c:pt idx="1">
                  <c:v>14570871</c:v>
                </c:pt>
                <c:pt idx="2">
                  <c:v>7295018</c:v>
                </c:pt>
                <c:pt idx="3">
                  <c:v>6302956</c:v>
                </c:pt>
                <c:pt idx="4">
                  <c:v>5678452</c:v>
                </c:pt>
                <c:pt idx="5">
                  <c:v>5329895</c:v>
                </c:pt>
                <c:pt idx="6">
                  <c:v>2930758</c:v>
                </c:pt>
                <c:pt idx="7">
                  <c:v>264288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Amazon</c:v>
                  </c:pt>
                  <c:pt idx="4">
                    <c:v>Flamingo</c:v>
                  </c:pt>
                  <c:pt idx="5">
                    <c:v>Billie</c:v>
                  </c:pt>
                  <c:pt idx="6">
                    <c:v>Jo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FA1DFA-B6C6-4DBA-9353-B51A56F23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13458B-AE2E-4329-8ED7-81CF9FFBA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4196CA-9F6F-430B-AA2B-887F80A38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7E6D4D-48A0-495A-80A8-154ECB1A1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FA68F3-5CEF-4ECD-9949-C2194FF82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588E3E-2293-4608-806B-FCF95FD05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B3E2D8-2E16-4212-9E9B-93F789ED9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10A0D9-BD09-486E-AB78-A108B9E65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891116785503327</c:v>
                </c:pt>
                <c:pt idx="1">
                  <c:v>5.4013524447280314</c:v>
                </c:pt>
                <c:pt idx="2">
                  <c:v>5.9794569067296344</c:v>
                </c:pt>
                <c:pt idx="3">
                  <c:v>5.1650047316953493</c:v>
                </c:pt>
                <c:pt idx="4">
                  <c:v>4.9601000086214331</c:v>
                </c:pt>
                <c:pt idx="5">
                  <c:v>2.8730478199446519</c:v>
                </c:pt>
                <c:pt idx="6">
                  <c:v>10.934217037822551</c:v>
                </c:pt>
                <c:pt idx="7">
                  <c:v>2.9475315691584818</c:v>
                </c:pt>
                <c:pt idx="8">
                  <c:v>15.002441613588109</c:v>
                </c:pt>
              </c:numCache>
            </c:numRef>
          </c:xVal>
          <c:yVal>
            <c:numRef>
              <c:f>Sheet1!$B$2:$B$10</c:f>
              <c:numCache>
                <c:formatCode>General</c:formatCode>
                <c:ptCount val="9"/>
                <c:pt idx="0">
                  <c:v>1.1451964011938069</c:v>
                </c:pt>
                <c:pt idx="1">
                  <c:v>1.0588511408716219</c:v>
                </c:pt>
                <c:pt idx="2">
                  <c:v>1.7584557706817801</c:v>
                </c:pt>
                <c:pt idx="3">
                  <c:v>0.60757077179813568</c:v>
                </c:pt>
                <c:pt idx="4">
                  <c:v>0.97243269677298538</c:v>
                </c:pt>
                <c:pt idx="5">
                  <c:v>0.57514179969404633</c:v>
                </c:pt>
                <c:pt idx="6">
                  <c:v>2.1435572931875448</c:v>
                </c:pt>
                <c:pt idx="7">
                  <c:v>0.86681938615436926</c:v>
                </c:pt>
                <c:pt idx="8">
                  <c:v>3.6323128692305731</c:v>
                </c:pt>
              </c:numCache>
            </c:numRef>
          </c:yVal>
          <c:bubbleSize>
            <c:numRef>
              <c:f>Sheet1!$C$2:$C$10</c:f>
              <c:numCache>
                <c:formatCode>General</c:formatCode>
                <c:ptCount val="9"/>
                <c:pt idx="0">
                  <c:v>1502666</c:v>
                </c:pt>
                <c:pt idx="1">
                  <c:v>821119</c:v>
                </c:pt>
                <c:pt idx="2">
                  <c:v>607752</c:v>
                </c:pt>
                <c:pt idx="3">
                  <c:v>589451</c:v>
                </c:pt>
                <c:pt idx="4">
                  <c:v>575322</c:v>
                </c:pt>
                <c:pt idx="5">
                  <c:v>445377</c:v>
                </c:pt>
                <c:pt idx="6">
                  <c:v>309329</c:v>
                </c:pt>
                <c:pt idx="7">
                  <c:v>270999</c:v>
                </c:pt>
                <c:pt idx="8">
                  <c:v>14132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Evribeauty</c:v>
                  </c:pt>
                  <c:pt idx="4">
                    <c:v>Clio</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E888FB-2CAE-4123-AA9A-2FD0CDC46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F7CD87-0CF6-4FD0-8066-52BC89AF5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B9B8D7-BA50-4526-9E1A-204E98F2D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3E17D-F870-4112-ABE2-428CCF696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A74259-F22B-4BCB-9D36-91F67FA94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B98CB4-D89A-4B26-8281-0BC26F6E4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D52023-0355-4A4B-92FB-56AE1F5C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0DE4FD-B558-4349-BB34-90D4D0B8B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89636223931451</c:v>
                </c:pt>
                <c:pt idx="1">
                  <c:v>7.3146672961453296</c:v>
                </c:pt>
                <c:pt idx="2">
                  <c:v>15.038000979911811</c:v>
                </c:pt>
                <c:pt idx="3">
                  <c:v>1.6193251627184391</c:v>
                </c:pt>
              </c:numCache>
            </c:numRef>
          </c:xVal>
          <c:yVal>
            <c:numRef>
              <c:f>Sheet1!$B$2:$B$5</c:f>
              <c:numCache>
                <c:formatCode>General</c:formatCode>
                <c:ptCount val="4"/>
                <c:pt idx="0">
                  <c:v>0.63451835673098422</c:v>
                </c:pt>
                <c:pt idx="1">
                  <c:v>3.1849660802536399</c:v>
                </c:pt>
                <c:pt idx="2">
                  <c:v>1.8729412499616731</c:v>
                </c:pt>
                <c:pt idx="3">
                  <c:v>0.5303723013766104</c:v>
                </c:pt>
              </c:numCache>
            </c:numRef>
          </c:yVal>
          <c:bubbleSize>
            <c:numRef>
              <c:f>Sheet1!$C$2:$C$5</c:f>
              <c:numCache>
                <c:formatCode>General</c:formatCode>
                <c:ptCount val="4"/>
                <c:pt idx="0">
                  <c:v>2505762</c:v>
                </c:pt>
                <c:pt idx="1">
                  <c:v>2200091</c:v>
                </c:pt>
                <c:pt idx="2">
                  <c:v>767314</c:v>
                </c:pt>
                <c:pt idx="3">
                  <c:v>478428</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42AC53-60FE-460D-8790-1F8641B71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C19A36-DF05-4E36-A300-66EB0EF5F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0734C8-BF04-4BCA-8252-C2F6809B9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9058EF-A049-4D8E-AF45-00BA62254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6FE8C0-C3AF-4D8F-A2BA-4EEC1BACF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F0843E-4AB4-4B56-B5D3-EE6F7E1F2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F02CD0-C905-4D8E-A019-F827C237A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B71A65-65CB-4278-9082-5CC3192E7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7139757609476653</c:v>
                </c:pt>
                <c:pt idx="1">
                  <c:v>5.9348284693279689</c:v>
                </c:pt>
                <c:pt idx="2">
                  <c:v>3.863008563864275</c:v>
                </c:pt>
              </c:numCache>
            </c:numRef>
          </c:xVal>
          <c:yVal>
            <c:numRef>
              <c:f>Sheet1!$B$2:$B$4</c:f>
              <c:numCache>
                <c:formatCode>General</c:formatCode>
                <c:ptCount val="3"/>
                <c:pt idx="0">
                  <c:v>1.2623111113354899</c:v>
                </c:pt>
                <c:pt idx="1">
                  <c:v>0.68705395687411941</c:v>
                </c:pt>
                <c:pt idx="2">
                  <c:v>0.58817950189344614</c:v>
                </c:pt>
              </c:numCache>
            </c:numRef>
          </c:yVal>
          <c:bubbleSize>
            <c:numRef>
              <c:f>Sheet1!$C$2:$C$4</c:f>
              <c:numCache>
                <c:formatCode>General</c:formatCode>
                <c:ptCount val="3"/>
                <c:pt idx="0">
                  <c:v>11715435</c:v>
                </c:pt>
                <c:pt idx="1">
                  <c:v>3575657</c:v>
                </c:pt>
                <c:pt idx="2">
                  <c:v>114394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0980C8-7C89-453E-941C-75136B0CC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A1FFF9-1F73-4DF4-8447-04E918FF7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BFD533-A887-4D85-8A3E-91D22B47A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DB8A78-4AD5-4BB1-8795-7143E1441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55D1FE-88E7-4F51-BD37-4530D21A6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8061E-A9BD-46AB-8558-0ECAB1E5F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3F9F09-B5BF-40FE-9ADE-BCB8E5786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E33D3E-124D-4B71-8CE9-DC13DFFAB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199442056320731</c:v>
                </c:pt>
                <c:pt idx="1">
                  <c:v>5.7688158617589771</c:v>
                </c:pt>
                <c:pt idx="2">
                  <c:v>6.8382202462862987</c:v>
                </c:pt>
                <c:pt idx="3">
                  <c:v>5.2185685986236789</c:v>
                </c:pt>
                <c:pt idx="4">
                  <c:v>15.08809746954077</c:v>
                </c:pt>
                <c:pt idx="5">
                  <c:v>5.8520699069516926</c:v>
                </c:pt>
              </c:numCache>
            </c:numRef>
          </c:xVal>
          <c:yVal>
            <c:numRef>
              <c:f>Sheet1!$B$2:$B$7</c:f>
              <c:numCache>
                <c:formatCode>General</c:formatCode>
                <c:ptCount val="6"/>
                <c:pt idx="0">
                  <c:v>1.6512052113227</c:v>
                </c:pt>
                <c:pt idx="1">
                  <c:v>0.68554441920782205</c:v>
                </c:pt>
                <c:pt idx="2">
                  <c:v>0.5738997677810237</c:v>
                </c:pt>
                <c:pt idx="3">
                  <c:v>0.5616470506716148</c:v>
                </c:pt>
                <c:pt idx="4">
                  <c:v>1.5039358501512201</c:v>
                </c:pt>
                <c:pt idx="5">
                  <c:v>0.79424286681582346</c:v>
                </c:pt>
              </c:numCache>
            </c:numRef>
          </c:yVal>
          <c:bubbleSize>
            <c:numRef>
              <c:f>Sheet1!$C$2:$C$7</c:f>
              <c:numCache>
                <c:formatCode>General</c:formatCode>
                <c:ptCount val="6"/>
                <c:pt idx="0">
                  <c:v>3761511</c:v>
                </c:pt>
                <c:pt idx="1">
                  <c:v>808563</c:v>
                </c:pt>
                <c:pt idx="2">
                  <c:v>775208</c:v>
                </c:pt>
                <c:pt idx="3">
                  <c:v>756061</c:v>
                </c:pt>
                <c:pt idx="4">
                  <c:v>402475</c:v>
                </c:pt>
                <c:pt idx="5">
                  <c:v>315093</c:v>
                </c:pt>
              </c:numCache>
            </c:numRef>
          </c:bubbleSize>
          <c:bubble3D val="0"/>
          <c:extLst>
            <c:ext xmlns:c15="http://schemas.microsoft.com/office/drawing/2012/chart" uri="{02D57815-91ED-43cb-92C2-25804820EDAC}">
              <c15:datalabelsRange>
                <c15:f>Sheet1!$E$2:$E$10</c15:f>
                <c15:dlblRangeCache>
                  <c:ptCount val="9"/>
                  <c:pt idx="0">
                    <c:v>Intuition</c:v>
                  </c:pt>
                  <c:pt idx="1">
                    <c:v>Bic Soleil</c:v>
                  </c:pt>
                  <c:pt idx="2">
                    <c:v>Skintimate</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7B3651-2288-46AE-9B70-9228C35D1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503B68-7AF8-413C-B0E6-8A5D29C96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C042F4-0458-4D39-8105-0635144C9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060B3A-DAD0-410F-87DF-665A1FC9C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0490E5-ADF9-42C7-BF1D-075A20FF3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A154C0-DF04-4C55-9E54-1341090A1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7AD1DC-5B81-4D5E-90DE-9B1B36AAA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9A284E-533B-4A95-AAE5-76C7BD580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39997773532961</c:v>
                </c:pt>
                <c:pt idx="1">
                  <c:v>5.8567393339128939</c:v>
                </c:pt>
                <c:pt idx="2">
                  <c:v>10.920943035514551</c:v>
                </c:pt>
                <c:pt idx="3">
                  <c:v>12.813319390796501</c:v>
                </c:pt>
                <c:pt idx="4">
                  <c:v>10.73430016980282</c:v>
                </c:pt>
                <c:pt idx="5">
                  <c:v>7.4230705358042233</c:v>
                </c:pt>
                <c:pt idx="6">
                  <c:v>11.140023177281281</c:v>
                </c:pt>
              </c:numCache>
            </c:numRef>
          </c:xVal>
          <c:yVal>
            <c:numRef>
              <c:f>Sheet1!$B$2:$B$8</c:f>
              <c:numCache>
                <c:formatCode>General</c:formatCode>
                <c:ptCount val="7"/>
                <c:pt idx="0">
                  <c:v>1.724532844635456</c:v>
                </c:pt>
                <c:pt idx="1">
                  <c:v>0.55104294341221782</c:v>
                </c:pt>
                <c:pt idx="2">
                  <c:v>0.97236106545046597</c:v>
                </c:pt>
                <c:pt idx="3">
                  <c:v>1.4585053296389601</c:v>
                </c:pt>
                <c:pt idx="4">
                  <c:v>0.86588626830838133</c:v>
                </c:pt>
                <c:pt idx="5">
                  <c:v>0.84008145315384308</c:v>
                </c:pt>
                <c:pt idx="6">
                  <c:v>0.99554816997588091</c:v>
                </c:pt>
              </c:numCache>
            </c:numRef>
          </c:yVal>
          <c:bubbleSize>
            <c:numRef>
              <c:f>Sheet1!$C$2:$C$8</c:f>
              <c:numCache>
                <c:formatCode>General</c:formatCode>
                <c:ptCount val="7"/>
                <c:pt idx="0">
                  <c:v>8149221</c:v>
                </c:pt>
                <c:pt idx="1">
                  <c:v>4217356</c:v>
                </c:pt>
                <c:pt idx="2">
                  <c:v>4130115</c:v>
                </c:pt>
                <c:pt idx="3">
                  <c:v>3602516</c:v>
                </c:pt>
                <c:pt idx="4">
                  <c:v>3097597</c:v>
                </c:pt>
                <c:pt idx="5">
                  <c:v>2726620</c:v>
                </c:pt>
                <c:pt idx="6">
                  <c:v>893998</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1CF2CB-51E5-41A7-8B65-C38F73DD8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FB2EF5-82EB-4A67-BA37-F737B335B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CDF4AE-76B1-45C5-B898-AFAF30A7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02F7D76-AE1A-407C-998F-9D386E64B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644C179-0D71-43D9-A111-893170F46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953CF8-20D3-44CE-9FCA-2636A0A56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4BD3435-A95D-4A60-A523-33CC78884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B390A6-8F7D-420D-9E10-DD049CC6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08405691353521</c:v>
                </c:pt>
                <c:pt idx="1">
                  <c:v>8.6493423618250791</c:v>
                </c:pt>
              </c:numCache>
            </c:numRef>
          </c:xVal>
          <c:yVal>
            <c:numRef>
              <c:f>Sheet1!$B$2:$B$3</c:f>
              <c:numCache>
                <c:formatCode>General</c:formatCode>
                <c:ptCount val="2"/>
                <c:pt idx="0">
                  <c:v>1.0957754803508779</c:v>
                </c:pt>
                <c:pt idx="1">
                  <c:v>0.85964970373168192</c:v>
                </c:pt>
              </c:numCache>
            </c:numRef>
          </c:yVal>
          <c:bubbleSize>
            <c:numRef>
              <c:f>Sheet1!$C$2:$C$3</c:f>
              <c:numCache>
                <c:formatCode>General</c:formatCode>
                <c:ptCount val="2"/>
                <c:pt idx="0">
                  <c:v>455721</c:v>
                </c:pt>
                <c:pt idx="1">
                  <c:v>24397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1F7912-8F80-4D18-BD8A-BD518F497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C85D5B3-CD16-4454-884E-517AF6B8F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6A693FB-2664-4617-B063-7AE270257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6852B7-DBC6-47C6-8A5F-DA60F9E16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CE9E51-9101-4DB0-B7A3-6191BC441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5174D8-5474-4F03-8456-1EDB6E41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FAC1EA-377E-4866-A5C2-4D6644CAA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516615-812F-488A-A537-69B14C0B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5365583487489</c:v>
                </c:pt>
              </c:numCache>
            </c:numRef>
          </c:xVal>
          <c:yVal>
            <c:numRef>
              <c:f>Sheet1!$B$2:$B$2</c:f>
              <c:numCache>
                <c:formatCode>General</c:formatCode>
                <c:ptCount val="1"/>
                <c:pt idx="0">
                  <c:v>1</c:v>
                </c:pt>
              </c:numCache>
            </c:numRef>
          </c:yVal>
          <c:bubbleSize>
            <c:numRef>
              <c:f>Sheet1!$C$2:$C$2</c:f>
              <c:numCache>
                <c:formatCode>General</c:formatCode>
                <c:ptCount val="1"/>
                <c:pt idx="0">
                  <c:v>198221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4DF7E4-CED1-468F-9536-370605D30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E619FF-A996-4CD5-AB9B-262F8AF93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97E1B1-AB19-4669-8867-A93B20BEA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34185F-85AA-447D-9DD2-E1FC0A90A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93042D-7315-4821-BB53-65FD9C42A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8BEFFE-E9DF-48C1-B085-D72D4C86C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85B625-0A34-4538-B58C-F4CCBC3FF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EBC69A-5F82-4A18-A387-82D74C3A5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04676743794278</c:v>
                </c:pt>
                <c:pt idx="1">
                  <c:v>4.4457495367972886</c:v>
                </c:pt>
                <c:pt idx="2">
                  <c:v>6.7118971435773354</c:v>
                </c:pt>
                <c:pt idx="3">
                  <c:v>10.70099815231195</c:v>
                </c:pt>
                <c:pt idx="4">
                  <c:v>11.477622158834301</c:v>
                </c:pt>
                <c:pt idx="5">
                  <c:v>3.8025201194741318</c:v>
                </c:pt>
                <c:pt idx="6">
                  <c:v>10.62267119623642</c:v>
                </c:pt>
                <c:pt idx="7">
                  <c:v>13.81625376379197</c:v>
                </c:pt>
                <c:pt idx="8">
                  <c:v>14.330967544382281</c:v>
                </c:pt>
              </c:numCache>
            </c:numRef>
          </c:xVal>
          <c:yVal>
            <c:numRef>
              <c:f>Sheet1!$B$2:$B$10</c:f>
              <c:numCache>
                <c:formatCode>General</c:formatCode>
                <c:ptCount val="9"/>
                <c:pt idx="0">
                  <c:v>1.8407567788801289</c:v>
                </c:pt>
                <c:pt idx="1">
                  <c:v>0.59672424594866924</c:v>
                </c:pt>
                <c:pt idx="2">
                  <c:v>0.84889074667462894</c:v>
                </c:pt>
                <c:pt idx="3">
                  <c:v>1.5585751045986449</c:v>
                </c:pt>
                <c:pt idx="4">
                  <c:v>1.63522051238036</c:v>
                </c:pt>
                <c:pt idx="5">
                  <c:v>0.16863791605424841</c:v>
                </c:pt>
                <c:pt idx="6">
                  <c:v>1.474870652468435</c:v>
                </c:pt>
                <c:pt idx="7">
                  <c:v>2.4186723526603382</c:v>
                </c:pt>
                <c:pt idx="8">
                  <c:v>1.9042188729804419</c:v>
                </c:pt>
              </c:numCache>
            </c:numRef>
          </c:yVal>
          <c:bubbleSize>
            <c:numRef>
              <c:f>Sheet1!$C$2:$C$10</c:f>
              <c:numCache>
                <c:formatCode>General</c:formatCode>
                <c:ptCount val="9"/>
                <c:pt idx="0">
                  <c:v>374431313</c:v>
                </c:pt>
                <c:pt idx="1">
                  <c:v>75383903</c:v>
                </c:pt>
                <c:pt idx="2">
                  <c:v>66355473</c:v>
                </c:pt>
                <c:pt idx="3">
                  <c:v>64083623</c:v>
                </c:pt>
                <c:pt idx="4">
                  <c:v>61374530</c:v>
                </c:pt>
                <c:pt idx="5">
                  <c:v>30644445</c:v>
                </c:pt>
                <c:pt idx="6">
                  <c:v>27025892</c:v>
                </c:pt>
                <c:pt idx="7">
                  <c:v>14724631</c:v>
                </c:pt>
                <c:pt idx="8">
                  <c:v>1207478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Flamingo</c:v>
                  </c:pt>
                  <c:pt idx="5">
                    <c:v>Bic Silky Touch</c:v>
                  </c:pt>
                  <c:pt idx="6">
                    <c:v>Joy</c:v>
                  </c:pt>
                  <c:pt idx="7">
                    <c:v>Intuition</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C97CE-E488-49BB-A1E9-554ADF35A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F1DD65-6D94-47CD-B255-23FC7F71B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21CA25-BC26-4F78-9843-7D572BEC7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718AA7-5BC0-48D7-AB62-08653FBE7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8177C4-CB43-48BE-A211-C391948EA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531CB1-FCF6-4D8F-8133-3B36FF726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6432B2-1120-4C68-9316-4462BD72E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264366-7570-4340-B230-E1657D9EA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9151213596462533</c:v>
                </c:pt>
                <c:pt idx="1">
                  <c:v>14.98532800053996</c:v>
                </c:pt>
                <c:pt idx="2">
                  <c:v>13.911409170001861</c:v>
                </c:pt>
                <c:pt idx="3">
                  <c:v>7.6979229237140778</c:v>
                </c:pt>
                <c:pt idx="4">
                  <c:v>4.0475188446222274</c:v>
                </c:pt>
                <c:pt idx="5">
                  <c:v>5.472080565241483</c:v>
                </c:pt>
                <c:pt idx="6">
                  <c:v>5.253935044061409</c:v>
                </c:pt>
                <c:pt idx="7">
                  <c:v>13.306856759221731</c:v>
                </c:pt>
                <c:pt idx="8">
                  <c:v>6.4152311174964352</c:v>
                </c:pt>
              </c:numCache>
            </c:numRef>
          </c:xVal>
          <c:yVal>
            <c:numRef>
              <c:f>Sheet1!$B$2:$B$10</c:f>
              <c:numCache>
                <c:formatCode>General</c:formatCode>
                <c:ptCount val="9"/>
                <c:pt idx="0">
                  <c:v>1.284825995705245</c:v>
                </c:pt>
                <c:pt idx="1">
                  <c:v>2.1242094321732261</c:v>
                </c:pt>
                <c:pt idx="2">
                  <c:v>1.1192425704586479</c:v>
                </c:pt>
                <c:pt idx="3">
                  <c:v>1.3221648578881879</c:v>
                </c:pt>
                <c:pt idx="4">
                  <c:v>0.56708489881742297</c:v>
                </c:pt>
                <c:pt idx="5">
                  <c:v>0.76899754182083258</c:v>
                </c:pt>
                <c:pt idx="6">
                  <c:v>0.74588259554280667</c:v>
                </c:pt>
                <c:pt idx="7">
                  <c:v>0.63733927218884412</c:v>
                </c:pt>
                <c:pt idx="8">
                  <c:v>1.364678754469087</c:v>
                </c:pt>
              </c:numCache>
            </c:numRef>
          </c:yVal>
          <c:bubbleSize>
            <c:numRef>
              <c:f>Sheet1!$C$2:$C$10</c:f>
              <c:numCache>
                <c:formatCode>General</c:formatCode>
                <c:ptCount val="9"/>
                <c:pt idx="0">
                  <c:v>35301001</c:v>
                </c:pt>
                <c:pt idx="1">
                  <c:v>14653388</c:v>
                </c:pt>
                <c:pt idx="2">
                  <c:v>10577220</c:v>
                </c:pt>
                <c:pt idx="3">
                  <c:v>9252734</c:v>
                </c:pt>
                <c:pt idx="4">
                  <c:v>7922836</c:v>
                </c:pt>
                <c:pt idx="5">
                  <c:v>6507929</c:v>
                </c:pt>
                <c:pt idx="6">
                  <c:v>6446179</c:v>
                </c:pt>
                <c:pt idx="7">
                  <c:v>6302979</c:v>
                </c:pt>
                <c:pt idx="8">
                  <c:v>6050429</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Intuition</c:v>
                  </c:pt>
                  <c:pt idx="3">
                    <c:v>Japonesque</c:v>
                  </c:pt>
                  <c:pt idx="4">
                    <c:v>Rem Pl</c:v>
                  </c:pt>
                  <c:pt idx="5">
                    <c:v>Universal Razor</c:v>
                  </c:pt>
                  <c:pt idx="6">
                    <c:v>Clio</c:v>
                  </c:pt>
                  <c:pt idx="7">
                    <c:v>Amazon</c:v>
                  </c:pt>
                  <c:pt idx="8">
                    <c:v>Revl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025059-1280-4E5B-A90B-807665860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CA299E-D323-4ADA-B70A-1962D90A7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457A87-C37C-43DD-B92C-B12C3FE72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2426DB-5014-4016-B93E-6547223AD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0ECE9D-12AF-4D02-A34A-D8131BC17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B5ED2C-03F7-45D4-BA95-25B81FD85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0C3633-1089-49D6-9F82-9FFCEC9B1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80E416-C837-4FDD-BD7E-1439498F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1.671649181018861</c:v>
                </c:pt>
                <c:pt idx="1">
                  <c:v>6.941615887986945</c:v>
                </c:pt>
                <c:pt idx="2">
                  <c:v>14.548547770403379</c:v>
                </c:pt>
                <c:pt idx="3">
                  <c:v>12.87721615306307</c:v>
                </c:pt>
                <c:pt idx="4">
                  <c:v>6.6998386633126144</c:v>
                </c:pt>
                <c:pt idx="5">
                  <c:v>5.0266033830029277</c:v>
                </c:pt>
              </c:numCache>
            </c:numRef>
          </c:xVal>
          <c:yVal>
            <c:numRef>
              <c:f>Sheet1!$B$2:$B$7</c:f>
              <c:numCache>
                <c:formatCode>General</c:formatCode>
                <c:ptCount val="6"/>
                <c:pt idx="0">
                  <c:v>1.096364517341285</c:v>
                </c:pt>
                <c:pt idx="1">
                  <c:v>0.63866569836260334</c:v>
                </c:pt>
                <c:pt idx="2">
                  <c:v>1.5502107252402979</c:v>
                </c:pt>
                <c:pt idx="3">
                  <c:v>1.5012333114296701</c:v>
                </c:pt>
                <c:pt idx="4">
                  <c:v>0.5965909025198719</c:v>
                </c:pt>
                <c:pt idx="5">
                  <c:v>0.5483961199908487</c:v>
                </c:pt>
              </c:numCache>
            </c:numRef>
          </c:yVal>
          <c:bubbleSize>
            <c:numRef>
              <c:f>Sheet1!$C$2:$C$7</c:f>
              <c:numCache>
                <c:formatCode>General</c:formatCode>
                <c:ptCount val="6"/>
                <c:pt idx="0">
                  <c:v>141885773</c:v>
                </c:pt>
                <c:pt idx="1">
                  <c:v>46299148</c:v>
                </c:pt>
                <c:pt idx="2">
                  <c:v>43643752</c:v>
                </c:pt>
                <c:pt idx="3">
                  <c:v>37264938</c:v>
                </c:pt>
                <c:pt idx="4">
                  <c:v>13471379</c:v>
                </c:pt>
                <c:pt idx="5">
                  <c:v>539063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4B9B7D-F7D6-4A87-B6D0-3D2FC24FB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3720AA-0880-41CB-A215-893B3ED23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EA7B06-746E-405C-BD0D-874A4C339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D1A2A5-E4B6-4E35-9ACB-243699BE1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AC6B8B-1B00-4FD1-A047-9DD788313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DA09A4-EBEB-4C12-A521-EB0EFD167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ECCFF7-622B-44DB-8478-A8B1000A6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CC0612-9838-4637-9387-92C967082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782379573874735</c:v>
                </c:pt>
                <c:pt idx="1">
                  <c:v>8.0907865881047378</c:v>
                </c:pt>
                <c:pt idx="2">
                  <c:v>12.400435084886411</c:v>
                </c:pt>
                <c:pt idx="3">
                  <c:v>14.52859602040053</c:v>
                </c:pt>
                <c:pt idx="4">
                  <c:v>13.70559384599499</c:v>
                </c:pt>
              </c:numCache>
            </c:numRef>
          </c:xVal>
          <c:yVal>
            <c:numRef>
              <c:f>Sheet1!$B$2:$B$6</c:f>
              <c:numCache>
                <c:formatCode>General</c:formatCode>
                <c:ptCount val="5"/>
                <c:pt idx="0">
                  <c:v>1.088436698708523</c:v>
                </c:pt>
                <c:pt idx="1">
                  <c:v>0.83139497268139007</c:v>
                </c:pt>
                <c:pt idx="2">
                  <c:v>1.666172666778361</c:v>
                </c:pt>
                <c:pt idx="3">
                  <c:v>0.49834083407486379</c:v>
                </c:pt>
                <c:pt idx="4">
                  <c:v>1.8777540880807599</c:v>
                </c:pt>
              </c:numCache>
            </c:numRef>
          </c:yVal>
          <c:bubbleSize>
            <c:numRef>
              <c:f>Sheet1!$C$2:$C$6</c:f>
              <c:numCache>
                <c:formatCode>General</c:formatCode>
                <c:ptCount val="5"/>
                <c:pt idx="0">
                  <c:v>16500732</c:v>
                </c:pt>
                <c:pt idx="1">
                  <c:v>4286968</c:v>
                </c:pt>
                <c:pt idx="2">
                  <c:v>1658769</c:v>
                </c:pt>
                <c:pt idx="3">
                  <c:v>1358816</c:v>
                </c:pt>
                <c:pt idx="4">
                  <c:v>530941</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83FF9F-8E39-4349-8BA1-49348EEDC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CED5CD7-216F-4498-B7A0-E15F6A740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803EC13-A0B5-41BD-AEA2-87D2528F1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231839-5B3E-4F6B-B91B-0084813C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1F3988-EB4F-4D7E-AA88-C5D7AB38D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B47BBF-16D7-4E09-9B97-DB19EEC7E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319DFE-29E6-42BF-83D0-138AEE8A5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A338B3-D121-40C9-97D3-32B919276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97500422107159</c:v>
                </c:pt>
              </c:numCache>
            </c:numRef>
          </c:xVal>
          <c:yVal>
            <c:numRef>
              <c:f>Sheet1!$B$2:$B$2</c:f>
              <c:numCache>
                <c:formatCode>General</c:formatCode>
                <c:ptCount val="1"/>
                <c:pt idx="0">
                  <c:v>1</c:v>
                </c:pt>
              </c:numCache>
            </c:numRef>
          </c:yVal>
          <c:bubbleSize>
            <c:numRef>
              <c:f>Sheet1!$C$2:$C$2</c:f>
              <c:numCache>
                <c:formatCode>General</c:formatCode>
                <c:ptCount val="1"/>
                <c:pt idx="0">
                  <c:v>156003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29D185-C8BE-4B18-9769-F2EBD3135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279186-C1FE-45EA-A689-FF599543F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E3B0A5-2EF7-447E-BAA5-1D1B7DF9F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AC6B68-F809-431D-A93C-FCD941B9E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7D03D9-04A3-4C59-A69C-D538F0FFB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AF1401-462C-4CE7-97A5-5F1890F11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4E9D35-8C05-4159-8E13-E6E17315C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C42D58-DBC7-4D40-82DD-D2209AC84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6240171817212</c:v>
                </c:pt>
                <c:pt idx="1">
                  <c:v>9.1532841192364209</c:v>
                </c:pt>
                <c:pt idx="2">
                  <c:v>15.931709913274119</c:v>
                </c:pt>
                <c:pt idx="3">
                  <c:v>10.46043442045236</c:v>
                </c:pt>
                <c:pt idx="4">
                  <c:v>18.027348061458682</c:v>
                </c:pt>
                <c:pt idx="5">
                  <c:v>15.886072655919691</c:v>
                </c:pt>
                <c:pt idx="6">
                  <c:v>6.6128882782185441</c:v>
                </c:pt>
                <c:pt idx="7">
                  <c:v>12.26684866324025</c:v>
                </c:pt>
                <c:pt idx="8">
                  <c:v>12.94934899968244</c:v>
                </c:pt>
              </c:numCache>
            </c:numRef>
          </c:xVal>
          <c:yVal>
            <c:numRef>
              <c:f>Sheet1!$B$2:$B$10</c:f>
              <c:numCache>
                <c:formatCode>General</c:formatCode>
                <c:ptCount val="9"/>
                <c:pt idx="0">
                  <c:v>1.78509936567258</c:v>
                </c:pt>
                <c:pt idx="1">
                  <c:v>0.56174399004630104</c:v>
                </c:pt>
                <c:pt idx="2">
                  <c:v>1.207315628055752</c:v>
                </c:pt>
                <c:pt idx="3">
                  <c:v>0.50335189110688972</c:v>
                </c:pt>
                <c:pt idx="4">
                  <c:v>1.403454518034644</c:v>
                </c:pt>
                <c:pt idx="5">
                  <c:v>1.0204399689914121</c:v>
                </c:pt>
                <c:pt idx="6">
                  <c:v>0.1211702892078774</c:v>
                </c:pt>
                <c:pt idx="7">
                  <c:v>0.91249023439214694</c:v>
                </c:pt>
                <c:pt idx="8">
                  <c:v>1.3583780156097081</c:v>
                </c:pt>
              </c:numCache>
            </c:numRef>
          </c:yVal>
          <c:bubbleSize>
            <c:numRef>
              <c:f>Sheet1!$C$2:$C$10</c:f>
              <c:numCache>
                <c:formatCode>General</c:formatCode>
                <c:ptCount val="9"/>
                <c:pt idx="0">
                  <c:v>49120114</c:v>
                </c:pt>
                <c:pt idx="1">
                  <c:v>6653449</c:v>
                </c:pt>
                <c:pt idx="2">
                  <c:v>5477991</c:v>
                </c:pt>
                <c:pt idx="3">
                  <c:v>4734424</c:v>
                </c:pt>
                <c:pt idx="4">
                  <c:v>3086949</c:v>
                </c:pt>
                <c:pt idx="5">
                  <c:v>2930758</c:v>
                </c:pt>
                <c:pt idx="6">
                  <c:v>1641180</c:v>
                </c:pt>
                <c:pt idx="7">
                  <c:v>1608650</c:v>
                </c:pt>
                <c:pt idx="8">
                  <c:v>97866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Flamingo</c:v>
                  </c:pt>
                  <c:pt idx="3">
                    <c:v>Billie</c:v>
                  </c:pt>
                  <c:pt idx="4">
                    <c:v>Intuition</c:v>
                  </c:pt>
                  <c:pt idx="5">
                    <c:v>Joy</c:v>
                  </c:pt>
                  <c:pt idx="6">
                    <c:v>Bic Silky Touch</c:v>
                  </c:pt>
                  <c:pt idx="7">
                    <c:v>Quattro</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70C87-7B13-44F8-8843-F284B6E38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FED8A4-AD13-4E9C-B00D-8B792A6C1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406997-33B2-4212-A36F-FE64335B5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CA838-A816-4C56-A0A1-9F9369AD8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94D4D2A-472D-4F65-8000-A18F531BA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82B50B-1512-420F-B7B1-1CABBEF6C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82A865-D73F-468B-908F-F5E967F9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11020A-2678-45A4-9086-FC7D4CEA4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812617563832049</c:v>
                </c:pt>
                <c:pt idx="1">
                  <c:v>13.30728580567385</c:v>
                </c:pt>
                <c:pt idx="2">
                  <c:v>20.249776490709792</c:v>
                </c:pt>
                <c:pt idx="3">
                  <c:v>18.169618646512429</c:v>
                </c:pt>
              </c:numCache>
            </c:numRef>
          </c:xVal>
          <c:yVal>
            <c:numRef>
              <c:f>Sheet1!$B$2:$B$5</c:f>
              <c:numCache>
                <c:formatCode>General</c:formatCode>
                <c:ptCount val="4"/>
                <c:pt idx="0">
                  <c:v>1.2639525586858209</c:v>
                </c:pt>
                <c:pt idx="1">
                  <c:v>0.70437395319505369</c:v>
                </c:pt>
                <c:pt idx="2">
                  <c:v>2.3235719618440931</c:v>
                </c:pt>
                <c:pt idx="3">
                  <c:v>0.85356414200495179</c:v>
                </c:pt>
              </c:numCache>
            </c:numRef>
          </c:yVal>
          <c:bubbleSize>
            <c:numRef>
              <c:f>Sheet1!$C$2:$C$5</c:f>
              <c:numCache>
                <c:formatCode>General</c:formatCode>
                <c:ptCount val="4"/>
                <c:pt idx="0">
                  <c:v>7634526</c:v>
                </c:pt>
                <c:pt idx="1">
                  <c:v>6302956</c:v>
                </c:pt>
                <c:pt idx="2">
                  <c:v>2083783</c:v>
                </c:pt>
                <c:pt idx="3">
                  <c:v>944802</c:v>
                </c:pt>
              </c:numCache>
            </c:numRef>
          </c:bubbleSize>
          <c:bubble3D val="0"/>
          <c:extLst>
            <c:ext xmlns:c15="http://schemas.microsoft.com/office/drawing/2012/chart" uri="{02D57815-91ED-43cb-92C2-25804820EDAC}">
              <c15:datalabelsRange>
                <c15:f>Sheet1!$E$2:$E$10</c15:f>
                <c15:dlblRangeCache>
                  <c:ptCount val="9"/>
                  <c:pt idx="0">
                    <c:v>Intuition</c:v>
                  </c:pt>
                  <c:pt idx="1">
                    <c:v>Amazon</c:v>
                  </c:pt>
                  <c:pt idx="2">
                    <c:v>Hydro Silk</c:v>
                  </c:pt>
                  <c:pt idx="3">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8194DF-E977-4EEB-A466-E23EA7DFE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53F6F2-A2A6-494C-878B-85B0C21C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0D5702-1772-4E1D-9D0D-CA7041EEC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EA3FBB-2A55-4B4B-80D9-028C2E159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E60478-DD64-44E4-8F83-2B59A55A2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907C5D-2524-4AFC-8118-59C087FDB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2F84A5-8917-400C-90D0-80D24C8E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FA9606-C9A2-4198-92D9-7B5B68048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64730840336051</c:v>
                </c:pt>
                <c:pt idx="1">
                  <c:v>14.355127177514159</c:v>
                </c:pt>
                <c:pt idx="2">
                  <c:v>12.37272187801738</c:v>
                </c:pt>
                <c:pt idx="3">
                  <c:v>9.5296588723555011</c:v>
                </c:pt>
                <c:pt idx="4">
                  <c:v>14.457432514962751</c:v>
                </c:pt>
                <c:pt idx="5">
                  <c:v>10.614122593676569</c:v>
                </c:pt>
              </c:numCache>
            </c:numRef>
          </c:xVal>
          <c:yVal>
            <c:numRef>
              <c:f>Sheet1!$B$2:$B$7</c:f>
              <c:numCache>
                <c:formatCode>General</c:formatCode>
                <c:ptCount val="6"/>
                <c:pt idx="0">
                  <c:v>0.91464745771220812</c:v>
                </c:pt>
                <c:pt idx="1">
                  <c:v>1.1993986302045709</c:v>
                </c:pt>
                <c:pt idx="2">
                  <c:v>1.2698974687666871</c:v>
                </c:pt>
                <c:pt idx="3">
                  <c:v>0.69682869769884281</c:v>
                </c:pt>
                <c:pt idx="4">
                  <c:v>1.3980838576478809</c:v>
                </c:pt>
                <c:pt idx="5">
                  <c:v>0.85156297439236361</c:v>
                </c:pt>
              </c:numCache>
            </c:numRef>
          </c:yVal>
          <c:bubbleSize>
            <c:numRef>
              <c:f>Sheet1!$C$2:$C$7</c:f>
              <c:numCache>
                <c:formatCode>General</c:formatCode>
                <c:ptCount val="6"/>
                <c:pt idx="0">
                  <c:v>10717932</c:v>
                </c:pt>
                <c:pt idx="1">
                  <c:v>5372837</c:v>
                </c:pt>
                <c:pt idx="2">
                  <c:v>2460291</c:v>
                </c:pt>
                <c:pt idx="3">
                  <c:v>1129722</c:v>
                </c:pt>
                <c:pt idx="4">
                  <c:v>473452</c:v>
                </c:pt>
                <c:pt idx="5">
                  <c:v>25748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c Soleil</c:v>
                  </c:pt>
                  <c:pt idx="4">
                    <c:v>Billie</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E049D4-29FC-4338-AF04-E8390D180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9263213-C8BA-435D-A356-C99B7599C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D8B9CF-9E04-44BC-9AF5-39658819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CEC189-CE90-4DA5-902A-1CCF7BEA9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B444553-A98D-4170-8964-AD993B752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F4ACE1-B47C-40B3-8A24-3D4C22471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323321-6294-4F28-8ACB-D0394CDE7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6674FD-5B09-4A60-98D5-08430FFA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8422736176254</c:v>
                </c:pt>
              </c:numCache>
            </c:numRef>
          </c:xVal>
          <c:yVal>
            <c:numRef>
              <c:f>Sheet1!$B$2:$B$2</c:f>
              <c:numCache>
                <c:formatCode>General</c:formatCode>
                <c:ptCount val="1"/>
                <c:pt idx="0">
                  <c:v>1</c:v>
                </c:pt>
              </c:numCache>
            </c:numRef>
          </c:yVal>
          <c:bubbleSize>
            <c:numRef>
              <c:f>Sheet1!$C$2:$C$2</c:f>
              <c:numCache>
                <c:formatCode>General</c:formatCode>
                <c:ptCount val="1"/>
                <c:pt idx="0">
                  <c:v>18457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D39F42-CF7A-407F-90CF-2A2C30BC3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55B44F-6060-4632-B5F4-038CEE362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385D7A-5DCC-4483-A83C-4FA5BDC0C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81568C-42E0-4626-9948-6C11AE1CD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9700DF-AE5C-4326-9F4B-77BA1C76E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2D9FDF-7900-4828-B97C-DC26AC7C1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390B4C-D904-4D02-BFFD-D78909AD5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8AF17-6D73-4D3D-9977-34F55FE54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0905229431363</c:v>
                </c:pt>
                <c:pt idx="1">
                  <c:v>12.166980643224161</c:v>
                </c:pt>
                <c:pt idx="2">
                  <c:v>12.691955983068709</c:v>
                </c:pt>
                <c:pt idx="3">
                  <c:v>8.1068062130964407</c:v>
                </c:pt>
                <c:pt idx="4">
                  <c:v>17.74004995944015</c:v>
                </c:pt>
                <c:pt idx="5">
                  <c:v>15.641800756311531</c:v>
                </c:pt>
                <c:pt idx="6">
                  <c:v>13.68058042023933</c:v>
                </c:pt>
                <c:pt idx="7">
                  <c:v>14.52859602040053</c:v>
                </c:pt>
              </c:numCache>
            </c:numRef>
          </c:xVal>
          <c:yVal>
            <c:numRef>
              <c:f>Sheet1!$B$2:$B$9</c:f>
              <c:numCache>
                <c:formatCode>General</c:formatCode>
                <c:ptCount val="8"/>
                <c:pt idx="0">
                  <c:v>1.2064882495227649</c:v>
                </c:pt>
                <c:pt idx="1">
                  <c:v>1.0150087986645271</c:v>
                </c:pt>
                <c:pt idx="2">
                  <c:v>0.92279209031273379</c:v>
                </c:pt>
                <c:pt idx="3">
                  <c:v>0.53229097453141827</c:v>
                </c:pt>
                <c:pt idx="4">
                  <c:v>1.5734427126342609</c:v>
                </c:pt>
                <c:pt idx="5">
                  <c:v>1.0868294597612771</c:v>
                </c:pt>
                <c:pt idx="6">
                  <c:v>0.65294055428167752</c:v>
                </c:pt>
                <c:pt idx="7">
                  <c:v>0.31514236223996461</c:v>
                </c:pt>
              </c:numCache>
            </c:numRef>
          </c:yVal>
          <c:bubbleSize>
            <c:numRef>
              <c:f>Sheet1!$C$2:$C$9</c:f>
              <c:numCache>
                <c:formatCode>General</c:formatCode>
                <c:ptCount val="8"/>
                <c:pt idx="0">
                  <c:v>33106360</c:v>
                </c:pt>
                <c:pt idx="1">
                  <c:v>5024744</c:v>
                </c:pt>
                <c:pt idx="2">
                  <c:v>4599641</c:v>
                </c:pt>
                <c:pt idx="3">
                  <c:v>3047997</c:v>
                </c:pt>
                <c:pt idx="4">
                  <c:v>2755491</c:v>
                </c:pt>
                <c:pt idx="5">
                  <c:v>2043351</c:v>
                </c:pt>
                <c:pt idx="6">
                  <c:v>1451920</c:v>
                </c:pt>
                <c:pt idx="7">
                  <c:v>1358816</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E6AD45-F808-477B-9367-5F9E87071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2E0849-1387-4887-BFF0-6178DDB17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1D8358-43DE-450D-944B-A1ADDB69C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34A373-6CCC-46C8-B09B-EDFB64D57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91872B-12E5-464E-B2CB-FB398AC74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29AF0B-8BD2-4AF0-9B85-607DBDC73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A6F7E0-4461-48E0-9F51-C9B7A0C1A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69ECC4-59F8-42DB-9769-D19543F88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59236142726369</c:v>
                </c:pt>
                <c:pt idx="1">
                  <c:v>5.9151261465574674</c:v>
                </c:pt>
                <c:pt idx="2">
                  <c:v>7.1250459018801413</c:v>
                </c:pt>
                <c:pt idx="3">
                  <c:v>25.62882631910589</c:v>
                </c:pt>
                <c:pt idx="4">
                  <c:v>9.676184034236508</c:v>
                </c:pt>
                <c:pt idx="5">
                  <c:v>6.5123678810212056</c:v>
                </c:pt>
                <c:pt idx="6">
                  <c:v>13.194838305676081</c:v>
                </c:pt>
                <c:pt idx="7">
                  <c:v>12.037599093997731</c:v>
                </c:pt>
                <c:pt idx="8">
                  <c:v>5.3869569270930446</c:v>
                </c:pt>
              </c:numCache>
            </c:numRef>
          </c:xVal>
          <c:yVal>
            <c:numRef>
              <c:f>Sheet1!$B$2:$B$10</c:f>
              <c:numCache>
                <c:formatCode>General</c:formatCode>
                <c:ptCount val="9"/>
                <c:pt idx="0">
                  <c:v>1.2404950972655759</c:v>
                </c:pt>
                <c:pt idx="1">
                  <c:v>0.6403392265901694</c:v>
                </c:pt>
                <c:pt idx="2">
                  <c:v>1.1456044127750249</c:v>
                </c:pt>
                <c:pt idx="3">
                  <c:v>6.6487213819512014</c:v>
                </c:pt>
                <c:pt idx="4">
                  <c:v>1.067579318384958</c:v>
                </c:pt>
                <c:pt idx="5">
                  <c:v>0.71755110636727792</c:v>
                </c:pt>
                <c:pt idx="6">
                  <c:v>1.414228201832725</c:v>
                </c:pt>
                <c:pt idx="7">
                  <c:v>1.3801553327582039</c:v>
                </c:pt>
                <c:pt idx="8">
                  <c:v>0.57736402303143053</c:v>
                </c:pt>
              </c:numCache>
            </c:numRef>
          </c:yVal>
          <c:bubbleSize>
            <c:numRef>
              <c:f>Sheet1!$C$2:$C$10</c:f>
              <c:numCache>
                <c:formatCode>General</c:formatCode>
                <c:ptCount val="9"/>
                <c:pt idx="0">
                  <c:v>2163797</c:v>
                </c:pt>
                <c:pt idx="1">
                  <c:v>878970</c:v>
                </c:pt>
                <c:pt idx="2">
                  <c:v>776117</c:v>
                </c:pt>
                <c:pt idx="3">
                  <c:v>772786</c:v>
                </c:pt>
                <c:pt idx="4">
                  <c:v>743876</c:v>
                </c:pt>
                <c:pt idx="5">
                  <c:v>295134</c:v>
                </c:pt>
                <c:pt idx="6">
                  <c:v>294997</c:v>
                </c:pt>
                <c:pt idx="7">
                  <c:v>159438</c:v>
                </c:pt>
                <c:pt idx="8">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26A2F5-5403-45ED-89EF-A15902F06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9924B9-D1B8-4DAA-935E-F9AFAD5BE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A5051A-E4F2-44F3-880B-65DCC09B3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688914-E378-41D5-BAB2-57AF1442F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9C6C2-1DDE-4FB2-B75D-BA296742E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0FBEB4-4847-45C8-AD3B-7AD55B0F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586CA3-5024-44E5-A93E-2325BDDA5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5B8BA0F-07DF-4A34-8E7C-D025606B3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980089642709149</c:v>
                </c:pt>
                <c:pt idx="1">
                  <c:v>13.170674298353109</c:v>
                </c:pt>
                <c:pt idx="2">
                  <c:v>19.79762035723591</c:v>
                </c:pt>
                <c:pt idx="3">
                  <c:v>8.1958556273776022</c:v>
                </c:pt>
                <c:pt idx="4">
                  <c:v>14.02926829268293</c:v>
                </c:pt>
              </c:numCache>
            </c:numRef>
          </c:xVal>
          <c:yVal>
            <c:numRef>
              <c:f>Sheet1!$B$2:$B$6</c:f>
              <c:numCache>
                <c:formatCode>General</c:formatCode>
                <c:ptCount val="5"/>
                <c:pt idx="0">
                  <c:v>0.89736371181394781</c:v>
                </c:pt>
                <c:pt idx="1">
                  <c:v>1.353388959513947</c:v>
                </c:pt>
                <c:pt idx="2">
                  <c:v>1.4221443071416731</c:v>
                </c:pt>
                <c:pt idx="3">
                  <c:v>0.61735377477004816</c:v>
                </c:pt>
                <c:pt idx="4">
                  <c:v>2.0816924508327741</c:v>
                </c:pt>
              </c:numCache>
            </c:numRef>
          </c:yVal>
          <c:bubbleSize>
            <c:numRef>
              <c:f>Sheet1!$C$2:$C$6</c:f>
              <c:numCache>
                <c:formatCode>General</c:formatCode>
                <c:ptCount val="5"/>
                <c:pt idx="0">
                  <c:v>11044229</c:v>
                </c:pt>
                <c:pt idx="1">
                  <c:v>3525210</c:v>
                </c:pt>
                <c:pt idx="2">
                  <c:v>3419346</c:v>
                </c:pt>
                <c:pt idx="3">
                  <c:v>1324983</c:v>
                </c:pt>
                <c:pt idx="4">
                  <c:v>28760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107C66-CCC0-449A-BA5D-1B13DBE1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88EA487-DEAB-4F7E-A884-8F092A3D1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AA9651C-146C-4D40-A22F-87E7ED49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583F2E4-BE0F-42E4-B97E-A492C206F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674945-6C55-4982-A1B1-8E7ABB742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9563E44-57FB-4D18-B8A0-8642A708E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227ABB-CF36-4318-BF2E-14A20646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DE5E7A-405C-4438-B37B-9BCD8DD35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540405925044951</c:v>
                </c:pt>
              </c:numCache>
            </c:numRef>
          </c:xVal>
          <c:yVal>
            <c:numRef>
              <c:f>Sheet1!$B$2:$B$2</c:f>
              <c:numCache>
                <c:formatCode>General</c:formatCode>
                <c:ptCount val="1"/>
                <c:pt idx="0">
                  <c:v>1</c:v>
                </c:pt>
              </c:numCache>
            </c:numRef>
          </c:yVal>
          <c:bubbleSize>
            <c:numRef>
              <c:f>Sheet1!$C$2:$C$2</c:f>
              <c:numCache>
                <c:formatCode>General</c:formatCode>
                <c:ptCount val="1"/>
                <c:pt idx="0">
                  <c:v>6785463</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4427DF-031B-40F2-8351-F298DD088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C10BD2-1691-4BEA-9B0F-723326C20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00EA70-0D6B-4695-983D-499004EDC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01C558-BBB9-4CF4-9138-E9759274F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21E6AE-D70C-46FE-88D4-D91340424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66464D-35F3-44AB-8A26-E57F68C8F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813208-2897-459A-9CA2-0F4C87C2C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4E3E06-20C9-4FA0-892E-50E285AAB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015068194677919</c:v>
                </c:pt>
                <c:pt idx="1">
                  <c:v>4.3988170614191846</c:v>
                </c:pt>
                <c:pt idx="2">
                  <c:v>10.773804865617221</c:v>
                </c:pt>
                <c:pt idx="3">
                  <c:v>6.0797299030786771</c:v>
                </c:pt>
                <c:pt idx="4">
                  <c:v>10.516025244527491</c:v>
                </c:pt>
                <c:pt idx="5">
                  <c:v>3.8390477421757532</c:v>
                </c:pt>
                <c:pt idx="6">
                  <c:v>12.206488399625311</c:v>
                </c:pt>
                <c:pt idx="7">
                  <c:v>10.92764576129589</c:v>
                </c:pt>
                <c:pt idx="8">
                  <c:v>14.99942646759542</c:v>
                </c:pt>
              </c:numCache>
            </c:numRef>
          </c:xVal>
          <c:yVal>
            <c:numRef>
              <c:f>Sheet1!$B$2:$B$10</c:f>
              <c:numCache>
                <c:formatCode>General</c:formatCode>
                <c:ptCount val="9"/>
                <c:pt idx="0">
                  <c:v>1.8920006853958271</c:v>
                </c:pt>
                <c:pt idx="1">
                  <c:v>0.73655820398521099</c:v>
                </c:pt>
                <c:pt idx="2">
                  <c:v>2.1088319809870222</c:v>
                </c:pt>
                <c:pt idx="3">
                  <c:v>1.1969320041100959</c:v>
                </c:pt>
                <c:pt idx="4">
                  <c:v>1.869051921685402</c:v>
                </c:pt>
                <c:pt idx="5">
                  <c:v>0.19900064911600759</c:v>
                </c:pt>
                <c:pt idx="6">
                  <c:v>2.9151078112854041</c:v>
                </c:pt>
                <c:pt idx="7">
                  <c:v>2.1553498463543042</c:v>
                </c:pt>
                <c:pt idx="8">
                  <c:v>0.58433721310066566</c:v>
                </c:pt>
              </c:numCache>
            </c:numRef>
          </c:yVal>
          <c:bubbleSize>
            <c:numRef>
              <c:f>Sheet1!$C$2:$C$10</c:f>
              <c:numCache>
                <c:formatCode>General</c:formatCode>
                <c:ptCount val="9"/>
                <c:pt idx="0">
                  <c:v>97079232</c:v>
                </c:pt>
                <c:pt idx="1">
                  <c:v>42521627</c:v>
                </c:pt>
                <c:pt idx="2">
                  <c:v>27479128</c:v>
                </c:pt>
                <c:pt idx="3">
                  <c:v>25593231</c:v>
                </c:pt>
                <c:pt idx="4">
                  <c:v>20486742</c:v>
                </c:pt>
                <c:pt idx="5">
                  <c:v>15916285</c:v>
                </c:pt>
                <c:pt idx="6">
                  <c:v>4938733</c:v>
                </c:pt>
                <c:pt idx="7">
                  <c:v>4800482</c:v>
                </c:pt>
                <c:pt idx="8">
                  <c:v>4053670</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543D5F-4CAE-457A-AF94-2D5D86021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4AB39D-967B-4CF6-BA85-F6BFE44B9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C91AE4-9907-43EE-895D-48CF27CE2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BE2E61-5DD0-4ADE-BE7C-C0B08D284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512A1A-DC5C-41B5-BC42-40AFF681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D416D3-C58C-4206-AF73-3702C4A4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04C768-79C3-4219-9DFA-DEEE44C7D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848142-DC65-402E-AA7C-37AA2B7FD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0131768476878</c:v>
                </c:pt>
                <c:pt idx="1">
                  <c:v>18.695583151326051</c:v>
                </c:pt>
                <c:pt idx="2">
                  <c:v>12.20244507138583</c:v>
                </c:pt>
                <c:pt idx="3">
                  <c:v>12.763552934662821</c:v>
                </c:pt>
                <c:pt idx="4">
                  <c:v>14.95973151927438</c:v>
                </c:pt>
                <c:pt idx="5">
                  <c:v>13.68058042023933</c:v>
                </c:pt>
              </c:numCache>
            </c:numRef>
          </c:xVal>
          <c:yVal>
            <c:numRef>
              <c:f>Sheet1!$B$2:$B$7</c:f>
              <c:numCache>
                <c:formatCode>General</c:formatCode>
                <c:ptCount val="6"/>
                <c:pt idx="0">
                  <c:v>1.184738430133855</c:v>
                </c:pt>
                <c:pt idx="1">
                  <c:v>1.0804896891888169</c:v>
                </c:pt>
                <c:pt idx="2">
                  <c:v>0.75832648452482376</c:v>
                </c:pt>
                <c:pt idx="3">
                  <c:v>0.70790019041830532</c:v>
                </c:pt>
                <c:pt idx="4">
                  <c:v>1.083443648395239</c:v>
                </c:pt>
                <c:pt idx="5">
                  <c:v>0.48655937493107759</c:v>
                </c:pt>
              </c:numCache>
            </c:numRef>
          </c:yVal>
          <c:bubbleSize>
            <c:numRef>
              <c:f>Sheet1!$C$2:$C$7</c:f>
              <c:numCache>
                <c:formatCode>General</c:formatCode>
                <c:ptCount val="6"/>
                <c:pt idx="0">
                  <c:v>28422643</c:v>
                </c:pt>
                <c:pt idx="1">
                  <c:v>7489918</c:v>
                </c:pt>
                <c:pt idx="2">
                  <c:v>4995620</c:v>
                </c:pt>
                <c:pt idx="3">
                  <c:v>4887241</c:v>
                </c:pt>
                <c:pt idx="4">
                  <c:v>4123276</c:v>
                </c:pt>
                <c:pt idx="5">
                  <c:v>145192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5960A9-6C9E-4035-8106-424F64A38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CBA556-AA85-425C-B1DF-13B5BAB1A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507DB1-E4AD-4290-A206-EEE130953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D172F8-08F0-4EE4-A2E8-D6220C4CA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7A916D-C6A2-4780-A1AA-386FCB466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0C04BC-10E1-405D-8958-67CDBB448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AE4096-183A-4CB3-8087-A80824643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F3646F-E83C-4C9C-B9B6-6198B75D0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695634151061544</c:v>
                </c:pt>
                <c:pt idx="1">
                  <c:v>10.41948512246339</c:v>
                </c:pt>
                <c:pt idx="2">
                  <c:v>5.3957194815687934</c:v>
                </c:pt>
                <c:pt idx="3">
                  <c:v>5.9834201725498843</c:v>
                </c:pt>
                <c:pt idx="4">
                  <c:v>4.9614314020305734</c:v>
                </c:pt>
                <c:pt idx="5">
                  <c:v>5.1476640115909378</c:v>
                </c:pt>
                <c:pt idx="6">
                  <c:v>2.854806428486079</c:v>
                </c:pt>
                <c:pt idx="7">
                  <c:v>8.920467958426908</c:v>
                </c:pt>
                <c:pt idx="8">
                  <c:v>10.93428401305426</c:v>
                </c:pt>
              </c:numCache>
            </c:numRef>
          </c:xVal>
          <c:yVal>
            <c:numRef>
              <c:f>Sheet1!$B$2:$B$10</c:f>
              <c:numCache>
                <c:formatCode>General</c:formatCode>
                <c:ptCount val="9"/>
                <c:pt idx="0">
                  <c:v>1.414099019033829</c:v>
                </c:pt>
                <c:pt idx="1">
                  <c:v>1.6089206830101801</c:v>
                </c:pt>
                <c:pt idx="2">
                  <c:v>0.88781622531476023</c:v>
                </c:pt>
                <c:pt idx="3">
                  <c:v>1.476874477508588</c:v>
                </c:pt>
                <c:pt idx="4">
                  <c:v>0.816384821639773</c:v>
                </c:pt>
                <c:pt idx="5">
                  <c:v>0.50822888839123526</c:v>
                </c:pt>
                <c:pt idx="6">
                  <c:v>0.47854442490676319</c:v>
                </c:pt>
                <c:pt idx="7">
                  <c:v>1.4678548149134221</c:v>
                </c:pt>
                <c:pt idx="8">
                  <c:v>1.7991781404192499</c:v>
                </c:pt>
              </c:numCache>
            </c:numRef>
          </c:yVal>
          <c:bubbleSize>
            <c:numRef>
              <c:f>Sheet1!$C$2:$C$10</c:f>
              <c:numCache>
                <c:formatCode>General</c:formatCode>
                <c:ptCount val="9"/>
                <c:pt idx="0">
                  <c:v>14657287</c:v>
                </c:pt>
                <c:pt idx="1">
                  <c:v>4530215</c:v>
                </c:pt>
                <c:pt idx="2">
                  <c:v>4380844</c:v>
                </c:pt>
                <c:pt idx="3">
                  <c:v>3039739</c:v>
                </c:pt>
                <c:pt idx="4">
                  <c:v>2907116</c:v>
                </c:pt>
                <c:pt idx="5">
                  <c:v>2906263</c:v>
                </c:pt>
                <c:pt idx="6">
                  <c:v>2675890</c:v>
                </c:pt>
                <c:pt idx="7">
                  <c:v>1708002</c:v>
                </c:pt>
                <c:pt idx="8">
                  <c:v>1450728</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Clio</c:v>
                  </c:pt>
                  <c:pt idx="5">
                    <c:v>Evribeauty</c:v>
                  </c:pt>
                  <c:pt idx="6">
                    <c:v>Rem Pl</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1BEA49-6F5B-4DF4-BB45-8303F0EC2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E49E0E-726A-421E-8B1E-003CD5060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D71055-D5DC-408F-9DF2-751660922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362979-D932-4EAB-A750-A40777F8F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F9B90-A715-4505-8966-A0CE8B732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A0781B-2578-4BAB-8E13-E28BB353F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8FFFC2-3A96-4CC3-9C3A-9C7AC3972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FB88D9-F98A-4AB5-918C-8C88F1D79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348531845461711</c:v>
                </c:pt>
                <c:pt idx="1">
                  <c:v>6.7359753128441362</c:v>
                </c:pt>
                <c:pt idx="2">
                  <c:v>12.764253992432939</c:v>
                </c:pt>
                <c:pt idx="3">
                  <c:v>11.90164110686321</c:v>
                </c:pt>
                <c:pt idx="4">
                  <c:v>6.931817231721082</c:v>
                </c:pt>
              </c:numCache>
            </c:numRef>
          </c:xVal>
          <c:yVal>
            <c:numRef>
              <c:f>Sheet1!$B$2:$B$6</c:f>
              <c:numCache>
                <c:formatCode>General</c:formatCode>
                <c:ptCount val="5"/>
                <c:pt idx="0">
                  <c:v>1.1006034508114519</c:v>
                </c:pt>
                <c:pt idx="1">
                  <c:v>0.67048329403478679</c:v>
                </c:pt>
                <c:pt idx="2">
                  <c:v>1.5807124486727371</c:v>
                </c:pt>
                <c:pt idx="3">
                  <c:v>1.55424405378105</c:v>
                </c:pt>
                <c:pt idx="4">
                  <c:v>0.58417691637815161</c:v>
                </c:pt>
              </c:numCache>
            </c:numRef>
          </c:yVal>
          <c:bubbleSize>
            <c:numRef>
              <c:f>Sheet1!$C$2:$C$6</c:f>
              <c:numCache>
                <c:formatCode>General</c:formatCode>
                <c:ptCount val="5"/>
                <c:pt idx="0">
                  <c:v>34473971</c:v>
                </c:pt>
                <c:pt idx="1">
                  <c:v>18246255</c:v>
                </c:pt>
                <c:pt idx="2">
                  <c:v>13976973</c:v>
                </c:pt>
                <c:pt idx="3">
                  <c:v>11512148</c:v>
                </c:pt>
                <c:pt idx="4">
                  <c:v>480866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7D52D9-1E69-48D2-8E6F-24D992030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F6C5FFA-CA32-4352-B4CC-7A4075805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9B6E07-2930-4987-8543-AB644F372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5B3C2B-2062-4D23-9669-E07DC455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6E95B8-343B-4505-933F-2885760F8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077817-547A-444D-96DA-8D76FC432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69D078-42F4-4EB1-968C-09E5CE5D8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6409DF-17FA-440C-97B2-F2F1DD00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707232473477809</c:v>
                </c:pt>
              </c:numCache>
            </c:numRef>
          </c:xVal>
          <c:yVal>
            <c:numRef>
              <c:f>Sheet1!$B$2:$B$2</c:f>
              <c:numCache>
                <c:formatCode>General</c:formatCode>
                <c:ptCount val="1"/>
                <c:pt idx="0">
                  <c:v>1</c:v>
                </c:pt>
              </c:numCache>
            </c:numRef>
          </c:yVal>
          <c:bubbleSize>
            <c:numRef>
              <c:f>Sheet1!$C$2:$C$2</c:f>
              <c:numCache>
                <c:formatCode>General</c:formatCode>
                <c:ptCount val="1"/>
                <c:pt idx="0">
                  <c:v>68529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67B9E2-EBC1-4F7A-8F28-B053CA451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0F3CB6-4A7E-4AB8-A7EF-D5820281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0F897-F5E7-4889-9579-B92BFA233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93DCC9-0CF4-4C64-8805-0279B60DA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8DEA7A-E7B1-4893-8794-135D1D9C0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2F6590-DE20-4C5F-BA2D-39B93FC84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E14705-0577-45E1-8348-E463E19F4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9103B3-833E-4220-A732-380670E8D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753114866746142</c:v>
                </c:pt>
                <c:pt idx="1">
                  <c:v>10.423837337398099</c:v>
                </c:pt>
                <c:pt idx="2">
                  <c:v>9.9630948820431957</c:v>
                </c:pt>
                <c:pt idx="3">
                  <c:v>14.73448948273276</c:v>
                </c:pt>
                <c:pt idx="4">
                  <c:v>17.763062412780901</c:v>
                </c:pt>
                <c:pt idx="5">
                  <c:v>15.916283573445311</c:v>
                </c:pt>
                <c:pt idx="6">
                  <c:v>6.3087949822191769</c:v>
                </c:pt>
                <c:pt idx="7">
                  <c:v>15.25680763363734</c:v>
                </c:pt>
                <c:pt idx="8">
                  <c:v>11.003312319692281</c:v>
                </c:pt>
              </c:numCache>
            </c:numRef>
          </c:xVal>
          <c:yVal>
            <c:numRef>
              <c:f>Sheet1!$B$2:$B$10</c:f>
              <c:numCache>
                <c:formatCode>General</c:formatCode>
                <c:ptCount val="9"/>
                <c:pt idx="0">
                  <c:v>1.8076605247655131</c:v>
                </c:pt>
                <c:pt idx="1">
                  <c:v>0.51587803778183716</c:v>
                </c:pt>
                <c:pt idx="2">
                  <c:v>0.55444629278536139</c:v>
                </c:pt>
                <c:pt idx="3">
                  <c:v>1.2733994335236589</c:v>
                </c:pt>
                <c:pt idx="4">
                  <c:v>1.3881564395109149</c:v>
                </c:pt>
                <c:pt idx="5">
                  <c:v>1.1092752716116181</c:v>
                </c:pt>
                <c:pt idx="6">
                  <c:v>0.1192333601888329</c:v>
                </c:pt>
                <c:pt idx="7">
                  <c:v>0.39747957207092249</c:v>
                </c:pt>
                <c:pt idx="8">
                  <c:v>1.1271382960517371</c:v>
                </c:pt>
              </c:numCache>
            </c:numRef>
          </c:yVal>
          <c:bubbleSize>
            <c:numRef>
              <c:f>Sheet1!$C$2:$C$10</c:f>
              <c:numCache>
                <c:formatCode>General</c:formatCode>
                <c:ptCount val="9"/>
                <c:pt idx="0">
                  <c:v>43202296</c:v>
                </c:pt>
                <c:pt idx="1">
                  <c:v>4636502</c:v>
                </c:pt>
                <c:pt idx="2">
                  <c:v>4397192</c:v>
                </c:pt>
                <c:pt idx="3">
                  <c:v>2553988</c:v>
                </c:pt>
                <c:pt idx="4">
                  <c:v>1845671</c:v>
                </c:pt>
                <c:pt idx="5">
                  <c:v>1758813</c:v>
                </c:pt>
                <c:pt idx="6">
                  <c:v>1546967</c:v>
                </c:pt>
                <c:pt idx="7">
                  <c:v>940155</c:v>
                </c:pt>
                <c:pt idx="8">
                  <c:v>92682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Bic Soleil</c:v>
                  </c:pt>
                  <c:pt idx="3">
                    <c:v>Flamingo</c:v>
                  </c:pt>
                  <c:pt idx="4">
                    <c:v>Intuition</c:v>
                  </c:pt>
                  <c:pt idx="5">
                    <c:v>Joy</c:v>
                  </c:pt>
                  <c:pt idx="6">
                    <c:v>Bic Silky Touch</c:v>
                  </c:pt>
                  <c:pt idx="7">
                    <c:v>Dais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8855A3-C3DB-49A9-9ED7-68DD9BFEE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8FCC80-C7BF-4987-A713-BF98F586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82B47E-D2BA-4AB5-BD2E-7202175A1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BA98B0-DE7E-40D2-8256-490C895BA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1FC0EC-FFE3-4C8C-85ED-E228F213E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AB272B-39C2-482A-9EBD-9638C10A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378FA8-97F8-425D-BC35-02637AAA0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AC228F-2DCE-4A08-8E49-E6755BBE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3.417592303923749</c:v>
                </c:pt>
                <c:pt idx="1">
                  <c:v>18.170253138674191</c:v>
                </c:pt>
                <c:pt idx="2">
                  <c:v>20.301998584109349</c:v>
                </c:pt>
                <c:pt idx="3">
                  <c:v>18.910897715699111</c:v>
                </c:pt>
              </c:numCache>
            </c:numRef>
          </c:xVal>
          <c:yVal>
            <c:numRef>
              <c:f>Sheet1!$B$2:$B$5</c:f>
              <c:numCache>
                <c:formatCode>General</c:formatCode>
                <c:ptCount val="4"/>
                <c:pt idx="0">
                  <c:v>0.74324506036043647</c:v>
                </c:pt>
                <c:pt idx="1">
                  <c:v>1.6909658827815091</c:v>
                </c:pt>
                <c:pt idx="2">
                  <c:v>2.519391988844478</c:v>
                </c:pt>
                <c:pt idx="3">
                  <c:v>0.93855735311580091</c:v>
                </c:pt>
              </c:numCache>
            </c:numRef>
          </c:yVal>
          <c:bubbleSize>
            <c:numRef>
              <c:f>Sheet1!$C$2:$C$5</c:f>
              <c:numCache>
                <c:formatCode>General</c:formatCode>
                <c:ptCount val="4"/>
                <c:pt idx="0">
                  <c:v>6025304</c:v>
                </c:pt>
                <c:pt idx="1">
                  <c:v>2221586</c:v>
                </c:pt>
                <c:pt idx="2">
                  <c:v>1864028</c:v>
                </c:pt>
                <c:pt idx="3">
                  <c:v>649873</c:v>
                </c:pt>
              </c:numCache>
            </c:numRef>
          </c:bubbleSize>
          <c:bubble3D val="0"/>
          <c:extLst>
            <c:ext xmlns:c15="http://schemas.microsoft.com/office/drawing/2012/chart" uri="{02D57815-91ED-43cb-92C2-25804820EDAC}">
              <c15:datalabelsRange>
                <c15:f>Sheet1!$E$2:$E$10</c15:f>
                <c15:dlblRangeCache>
                  <c:ptCount val="9"/>
                  <c:pt idx="0">
                    <c:v>Amazon</c:v>
                  </c:pt>
                  <c:pt idx="1">
                    <c:v>Intuition</c:v>
                  </c:pt>
                  <c:pt idx="2">
                    <c:v>Hydro Silk</c:v>
                  </c:pt>
                  <c:pt idx="3">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B5EBC3-3C8C-42C5-8539-B9E2E164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3913EC-9528-472A-87B1-BB4DEF750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226016-EB4F-4CF6-9566-B90B5EF00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28068A-F16B-4D4D-AA15-E9170322A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5DE65F-0292-4DBD-8AE3-D51FF2D27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CEA6E5-19A4-4056-B2A6-7BCAC4D4B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7DF773-B7B7-46E1-A3FA-DDA1AF5D5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010DA2-D847-4552-827C-F1F805B4A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574695403359794</c:v>
                </c:pt>
                <c:pt idx="1">
                  <c:v>14.424561950177219</c:v>
                </c:pt>
                <c:pt idx="2">
                  <c:v>14.15616005789188</c:v>
                </c:pt>
                <c:pt idx="3">
                  <c:v>14.597295316767701</c:v>
                </c:pt>
                <c:pt idx="4">
                  <c:v>7.2724090160251613</c:v>
                </c:pt>
              </c:numCache>
            </c:numRef>
          </c:xVal>
          <c:yVal>
            <c:numRef>
              <c:f>Sheet1!$B$2:$B$6</c:f>
              <c:numCache>
                <c:formatCode>General</c:formatCode>
                <c:ptCount val="5"/>
                <c:pt idx="0">
                  <c:v>0.85390397768731119</c:v>
                </c:pt>
                <c:pt idx="1">
                  <c:v>1.246066924376205</c:v>
                </c:pt>
                <c:pt idx="2">
                  <c:v>1.394943018496172</c:v>
                </c:pt>
                <c:pt idx="3">
                  <c:v>1.469596628272885</c:v>
                </c:pt>
                <c:pt idx="4">
                  <c:v>1.1410369036618271</c:v>
                </c:pt>
              </c:numCache>
            </c:numRef>
          </c:yVal>
          <c:bubbleSize>
            <c:numRef>
              <c:f>Sheet1!$C$2:$C$6</c:f>
              <c:numCache>
                <c:formatCode>General</c:formatCode>
                <c:ptCount val="5"/>
                <c:pt idx="0">
                  <c:v>8370322</c:v>
                </c:pt>
                <c:pt idx="1">
                  <c:v>5184678</c:v>
                </c:pt>
                <c:pt idx="2">
                  <c:v>860737</c:v>
                </c:pt>
                <c:pt idx="3">
                  <c:v>438240</c:v>
                </c:pt>
                <c:pt idx="4">
                  <c:v>38846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6B159A-208D-44C7-9F4A-A44FDE4C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CF2A538-E1CA-4EB6-AD42-0B522563E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E1B830C-EF34-448A-8D85-46C516C13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52374F-EFE9-49EA-AB6B-BF455BC0C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21C4B7-8085-402E-B3AC-0A47010D3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B9DA6C-91F2-492F-B1AD-377C6DF99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3A9FAB-9487-42DA-ABBB-A2921E2E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265763-B8A4-4664-9D1F-2CEE4A0A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8422736176254</c:v>
                </c:pt>
              </c:numCache>
            </c:numRef>
          </c:xVal>
          <c:yVal>
            <c:numRef>
              <c:f>Sheet1!$B$2:$B$2</c:f>
              <c:numCache>
                <c:formatCode>General</c:formatCode>
                <c:ptCount val="1"/>
                <c:pt idx="0">
                  <c:v>1</c:v>
                </c:pt>
              </c:numCache>
            </c:numRef>
          </c:yVal>
          <c:bubbleSize>
            <c:numRef>
              <c:f>Sheet1!$C$2:$C$2</c:f>
              <c:numCache>
                <c:formatCode>General</c:formatCode>
                <c:ptCount val="1"/>
                <c:pt idx="0">
                  <c:v>18457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21474A-01E0-4A9A-BEB1-BF0495986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D8F0C0-D0F6-45BF-81E7-22268B528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C0F621-53E9-40C0-9A04-A674EF5BE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24ACDA-6CF3-4EDD-AE1E-D678263F7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F71E4E-3C7A-4D08-B0CE-FE631BD50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8B3853-F6C1-429F-BBB6-41105F250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DAF1AE-0B42-4C3C-98A0-25282DB45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57CC83-618B-470D-AF21-50354A74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0905229431363</c:v>
                </c:pt>
                <c:pt idx="1">
                  <c:v>12.166980643224161</c:v>
                </c:pt>
                <c:pt idx="2">
                  <c:v>12.691955983068709</c:v>
                </c:pt>
                <c:pt idx="3">
                  <c:v>8.1068062130964407</c:v>
                </c:pt>
                <c:pt idx="4">
                  <c:v>17.74004995944015</c:v>
                </c:pt>
                <c:pt idx="5">
                  <c:v>15.641800756311531</c:v>
                </c:pt>
                <c:pt idx="6">
                  <c:v>13.68058042023933</c:v>
                </c:pt>
                <c:pt idx="7">
                  <c:v>14.52859602040053</c:v>
                </c:pt>
              </c:numCache>
            </c:numRef>
          </c:xVal>
          <c:yVal>
            <c:numRef>
              <c:f>Sheet1!$B$2:$B$9</c:f>
              <c:numCache>
                <c:formatCode>General</c:formatCode>
                <c:ptCount val="8"/>
                <c:pt idx="0">
                  <c:v>1.2064882495227649</c:v>
                </c:pt>
                <c:pt idx="1">
                  <c:v>1.0150087986645271</c:v>
                </c:pt>
                <c:pt idx="2">
                  <c:v>0.92279209031273379</c:v>
                </c:pt>
                <c:pt idx="3">
                  <c:v>0.53229097453141827</c:v>
                </c:pt>
                <c:pt idx="4">
                  <c:v>1.5734427126342609</c:v>
                </c:pt>
                <c:pt idx="5">
                  <c:v>1.0868294597612771</c:v>
                </c:pt>
                <c:pt idx="6">
                  <c:v>0.65294055428167752</c:v>
                </c:pt>
                <c:pt idx="7">
                  <c:v>0.31514236223996461</c:v>
                </c:pt>
              </c:numCache>
            </c:numRef>
          </c:yVal>
          <c:bubbleSize>
            <c:numRef>
              <c:f>Sheet1!$C$2:$C$9</c:f>
              <c:numCache>
                <c:formatCode>General</c:formatCode>
                <c:ptCount val="8"/>
                <c:pt idx="0">
                  <c:v>33106360</c:v>
                </c:pt>
                <c:pt idx="1">
                  <c:v>5024744</c:v>
                </c:pt>
                <c:pt idx="2">
                  <c:v>4599641</c:v>
                </c:pt>
                <c:pt idx="3">
                  <c:v>3047997</c:v>
                </c:pt>
                <c:pt idx="4">
                  <c:v>2755491</c:v>
                </c:pt>
                <c:pt idx="5">
                  <c:v>2043351</c:v>
                </c:pt>
                <c:pt idx="6">
                  <c:v>1451920</c:v>
                </c:pt>
                <c:pt idx="7">
                  <c:v>1358816</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9FC9FD-1AE6-4A3A-AA04-78D8D0506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031AB-D3C3-48BB-8902-886D25D36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602F25-1A30-49AE-B3BE-DAB7F4BE2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D16E7-9075-463C-A66D-92B4E78FF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C2FB79-3F22-4660-BF9D-AA8D08307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4397A1-7B40-4A5D-BD69-EB0559B58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7D60D1-8FA3-4E91-A79F-C3CE8DED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1D6791-A2B4-4B9F-AA79-75EF0B90D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59236142726369</c:v>
                </c:pt>
                <c:pt idx="1">
                  <c:v>5.9151261465574674</c:v>
                </c:pt>
                <c:pt idx="2">
                  <c:v>7.1250459018801413</c:v>
                </c:pt>
                <c:pt idx="3">
                  <c:v>25.62882631910589</c:v>
                </c:pt>
                <c:pt idx="4">
                  <c:v>9.676184034236508</c:v>
                </c:pt>
                <c:pt idx="5">
                  <c:v>6.5123678810212056</c:v>
                </c:pt>
                <c:pt idx="6">
                  <c:v>13.194838305676081</c:v>
                </c:pt>
                <c:pt idx="7">
                  <c:v>12.037599093997731</c:v>
                </c:pt>
                <c:pt idx="8">
                  <c:v>5.3869569270930446</c:v>
                </c:pt>
              </c:numCache>
            </c:numRef>
          </c:xVal>
          <c:yVal>
            <c:numRef>
              <c:f>Sheet1!$B$2:$B$10</c:f>
              <c:numCache>
                <c:formatCode>General</c:formatCode>
                <c:ptCount val="9"/>
                <c:pt idx="0">
                  <c:v>1.2404950972655759</c:v>
                </c:pt>
                <c:pt idx="1">
                  <c:v>0.6403392265901694</c:v>
                </c:pt>
                <c:pt idx="2">
                  <c:v>1.1456044127750249</c:v>
                </c:pt>
                <c:pt idx="3">
                  <c:v>6.6487213819512014</c:v>
                </c:pt>
                <c:pt idx="4">
                  <c:v>1.067579318384958</c:v>
                </c:pt>
                <c:pt idx="5">
                  <c:v>0.71755110636727792</c:v>
                </c:pt>
                <c:pt idx="6">
                  <c:v>1.414228201832725</c:v>
                </c:pt>
                <c:pt idx="7">
                  <c:v>1.3801553327582039</c:v>
                </c:pt>
                <c:pt idx="8">
                  <c:v>0.57736402303143053</c:v>
                </c:pt>
              </c:numCache>
            </c:numRef>
          </c:yVal>
          <c:bubbleSize>
            <c:numRef>
              <c:f>Sheet1!$C$2:$C$10</c:f>
              <c:numCache>
                <c:formatCode>General</c:formatCode>
                <c:ptCount val="9"/>
                <c:pt idx="0">
                  <c:v>2163797</c:v>
                </c:pt>
                <c:pt idx="1">
                  <c:v>878970</c:v>
                </c:pt>
                <c:pt idx="2">
                  <c:v>776117</c:v>
                </c:pt>
                <c:pt idx="3">
                  <c:v>772786</c:v>
                </c:pt>
                <c:pt idx="4">
                  <c:v>743876</c:v>
                </c:pt>
                <c:pt idx="5">
                  <c:v>295134</c:v>
                </c:pt>
                <c:pt idx="6">
                  <c:v>294997</c:v>
                </c:pt>
                <c:pt idx="7">
                  <c:v>159438</c:v>
                </c:pt>
                <c:pt idx="8">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0495B1-CF7F-45AB-9DD7-ED712C4C6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4006D4-584D-465B-B9AF-242A23FAC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4931C0-1583-46C6-ABD2-48CA0F562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C5BF99-7D92-45B6-973B-0FDAC4DD5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72AD55-B455-4142-AADB-5474408FC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7572D3-B67E-4DBD-9FE3-0D5273116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8CE9FF-1017-4D6D-AE87-76E79D359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A7124B-C856-447A-99B5-161FF466D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980089642709149</c:v>
                </c:pt>
                <c:pt idx="1">
                  <c:v>13.170674298353109</c:v>
                </c:pt>
                <c:pt idx="2">
                  <c:v>19.79762035723591</c:v>
                </c:pt>
                <c:pt idx="3">
                  <c:v>8.1958556273776022</c:v>
                </c:pt>
                <c:pt idx="4">
                  <c:v>14.02926829268293</c:v>
                </c:pt>
              </c:numCache>
            </c:numRef>
          </c:xVal>
          <c:yVal>
            <c:numRef>
              <c:f>Sheet1!$B$2:$B$6</c:f>
              <c:numCache>
                <c:formatCode>General</c:formatCode>
                <c:ptCount val="5"/>
                <c:pt idx="0">
                  <c:v>0.89736371181394781</c:v>
                </c:pt>
                <c:pt idx="1">
                  <c:v>1.353388959513947</c:v>
                </c:pt>
                <c:pt idx="2">
                  <c:v>1.4221443071416731</c:v>
                </c:pt>
                <c:pt idx="3">
                  <c:v>0.61735377477004816</c:v>
                </c:pt>
                <c:pt idx="4">
                  <c:v>2.0816924508327741</c:v>
                </c:pt>
              </c:numCache>
            </c:numRef>
          </c:yVal>
          <c:bubbleSize>
            <c:numRef>
              <c:f>Sheet1!$C$2:$C$6</c:f>
              <c:numCache>
                <c:formatCode>General</c:formatCode>
                <c:ptCount val="5"/>
                <c:pt idx="0">
                  <c:v>11044229</c:v>
                </c:pt>
                <c:pt idx="1">
                  <c:v>3525210</c:v>
                </c:pt>
                <c:pt idx="2">
                  <c:v>3419346</c:v>
                </c:pt>
                <c:pt idx="3">
                  <c:v>1324983</c:v>
                </c:pt>
                <c:pt idx="4">
                  <c:v>28760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1B598F-9AC9-4CDF-97F2-B4371E15E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722803-9F4C-4AA9-8D2C-638671CCD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B44647-5075-4E12-93D9-AFB6B9861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157CD3-2463-4917-B539-B652DF2BA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2A77E5-6038-4CA5-B9A1-5DE899101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3002A0-1029-4BA3-B675-77DE4D0CF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72ADA6-11CB-443D-A70E-0C9547A35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079967-33FD-4652-89DF-1ED495F26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606616886505661</c:v>
                </c:pt>
                <c:pt idx="1">
                  <c:v>18.25561265829699</c:v>
                </c:pt>
                <c:pt idx="2">
                  <c:v>12.83231961816821</c:v>
                </c:pt>
                <c:pt idx="3">
                  <c:v>12.247336243401779</c:v>
                </c:pt>
                <c:pt idx="4">
                  <c:v>12.219766664599311</c:v>
                </c:pt>
                <c:pt idx="5">
                  <c:v>8.1335825684234013</c:v>
                </c:pt>
                <c:pt idx="6">
                  <c:v>13.68039158414442</c:v>
                </c:pt>
                <c:pt idx="7">
                  <c:v>14.52859602040053</c:v>
                </c:pt>
                <c:pt idx="8">
                  <c:v>5.9151261465574674</c:v>
                </c:pt>
              </c:numCache>
            </c:numRef>
          </c:xVal>
          <c:yVal>
            <c:numRef>
              <c:f>Sheet1!$B$2:$B$10</c:f>
              <c:numCache>
                <c:formatCode>General</c:formatCode>
                <c:ptCount val="9"/>
                <c:pt idx="0">
                  <c:v>1.1244364924332411</c:v>
                </c:pt>
                <c:pt idx="1">
                  <c:v>1.496958602059838</c:v>
                </c:pt>
                <c:pt idx="2">
                  <c:v>1.147707317100624</c:v>
                </c:pt>
                <c:pt idx="3">
                  <c:v>0.98202414391182036</c:v>
                </c:pt>
                <c:pt idx="4">
                  <c:v>1.069887398171016</c:v>
                </c:pt>
                <c:pt idx="5">
                  <c:v>0.55767813367580377</c:v>
                </c:pt>
                <c:pt idx="6">
                  <c:v>0.68396122074873644</c:v>
                </c:pt>
                <c:pt idx="7">
                  <c:v>0.33011659429084561</c:v>
                </c:pt>
                <c:pt idx="8">
                  <c:v>0.54218568615155582</c:v>
                </c:pt>
              </c:numCache>
            </c:numRef>
          </c:yVal>
          <c:bubbleSize>
            <c:numRef>
              <c:f>Sheet1!$C$2:$C$10</c:f>
              <c:numCache>
                <c:formatCode>General</c:formatCode>
                <c:ptCount val="9"/>
                <c:pt idx="0">
                  <c:v>44923375</c:v>
                </c:pt>
                <c:pt idx="1">
                  <c:v>8020859</c:v>
                </c:pt>
                <c:pt idx="2">
                  <c:v>7732358</c:v>
                </c:pt>
                <c:pt idx="3">
                  <c:v>5631117</c:v>
                </c:pt>
                <c:pt idx="4">
                  <c:v>5319741</c:v>
                </c:pt>
                <c:pt idx="5">
                  <c:v>4372980</c:v>
                </c:pt>
                <c:pt idx="6">
                  <c:v>1451941</c:v>
                </c:pt>
                <c:pt idx="7">
                  <c:v>1358816</c:v>
                </c:pt>
                <c:pt idx="8">
                  <c:v>8789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4E14A5-05EC-4FF5-ACAB-59CFD0D4A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1F79D-46CB-455C-8A79-8F42258F4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9079EF-6433-4DD2-99B2-8141E7168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1CE34F-D303-4BE4-957A-F85F0F5B7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6061F8-2E92-4627-9BA5-F685C3241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219E5E-618F-425C-8D0F-1679A0665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E7FF86-9112-4164-94C3-321B79981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F8CE97-2A2B-411D-B5E8-520597B0C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45146952960551</c:v>
                </c:pt>
                <c:pt idx="1">
                  <c:v>6.2615983840761</c:v>
                </c:pt>
                <c:pt idx="2">
                  <c:v>4.0277052245721263</c:v>
                </c:pt>
                <c:pt idx="3">
                  <c:v>3.839040201297133</c:v>
                </c:pt>
                <c:pt idx="4">
                  <c:v>6.7888369733606204</c:v>
                </c:pt>
                <c:pt idx="5">
                  <c:v>14.99942646759542</c:v>
                </c:pt>
                <c:pt idx="6">
                  <c:v>11.201019111846829</c:v>
                </c:pt>
                <c:pt idx="7">
                  <c:v>10.1136826650581</c:v>
                </c:pt>
              </c:numCache>
            </c:numRef>
          </c:xVal>
          <c:yVal>
            <c:numRef>
              <c:f>Sheet1!$B$2:$B$9</c:f>
              <c:numCache>
                <c:formatCode>General</c:formatCode>
                <c:ptCount val="8"/>
                <c:pt idx="0">
                  <c:v>1.708366570721193</c:v>
                </c:pt>
                <c:pt idx="1">
                  <c:v>1.6447863136907619</c:v>
                </c:pt>
                <c:pt idx="2">
                  <c:v>0.90713480909680511</c:v>
                </c:pt>
                <c:pt idx="3">
                  <c:v>0.27069053861190628</c:v>
                </c:pt>
                <c:pt idx="4">
                  <c:v>1.3594218302207191</c:v>
                </c:pt>
                <c:pt idx="5">
                  <c:v>0.79484422126753029</c:v>
                </c:pt>
                <c:pt idx="6">
                  <c:v>3.1873164262155949</c:v>
                </c:pt>
                <c:pt idx="7">
                  <c:v>3.2155394865284248</c:v>
                </c:pt>
              </c:numCache>
            </c:numRef>
          </c:yVal>
          <c:bubbleSize>
            <c:numRef>
              <c:f>Sheet1!$C$2:$C$9</c:f>
              <c:numCache>
                <c:formatCode>General</c:formatCode>
                <c:ptCount val="8"/>
                <c:pt idx="0">
                  <c:v>61719622</c:v>
                </c:pt>
                <c:pt idx="1">
                  <c:v>41889586</c:v>
                </c:pt>
                <c:pt idx="2">
                  <c:v>34228893</c:v>
                </c:pt>
                <c:pt idx="3">
                  <c:v>15916319</c:v>
                </c:pt>
                <c:pt idx="4">
                  <c:v>5460248</c:v>
                </c:pt>
                <c:pt idx="5">
                  <c:v>4053670</c:v>
                </c:pt>
                <c:pt idx="6">
                  <c:v>3200568</c:v>
                </c:pt>
                <c:pt idx="7">
                  <c:v>177723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C3056D-EC7F-41C1-ACA2-F49545D03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A048A83-80DE-4CA4-AE0B-52047646F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74B93D-1151-49DF-862E-1C0B86DBA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130DA5-80CB-474C-9D48-5CFF9BA9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A4B6A2-0C8F-454E-BB06-2025A926B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824F796-B658-4A29-BB1D-13C0D518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9EA228-FD8A-4A27-840A-A44CED883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168EA1-F3BB-48BC-9406-AFEE4AC52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572374694429509</c:v>
                </c:pt>
              </c:numCache>
            </c:numRef>
          </c:xVal>
          <c:yVal>
            <c:numRef>
              <c:f>Sheet1!$B$2:$B$2</c:f>
              <c:numCache>
                <c:formatCode>General</c:formatCode>
                <c:ptCount val="1"/>
                <c:pt idx="0">
                  <c:v>1</c:v>
                </c:pt>
              </c:numCache>
            </c:numRef>
          </c:yVal>
          <c:bubbleSize>
            <c:numRef>
              <c:f>Sheet1!$C$2:$C$2</c:f>
              <c:numCache>
                <c:formatCode>General</c:formatCode>
                <c:ptCount val="1"/>
                <c:pt idx="0">
                  <c:v>78284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5DD844-2425-40AE-BDB5-4CBE9ED64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E5EF04-116A-4D9C-BBE1-69CE2B2DE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9747AA-00C1-4AA0-A139-F58D39B27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A7A8E-E62D-476E-8FC5-FEBD1E86F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124136-28CD-44A5-82B1-4ED1E500B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F9230B-0F0D-43A2-833E-E1D1E3D61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A42DEA-C3CE-448B-8A80-05F53961F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39F686-6A00-4E7C-8C42-ED8329D8D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0237377545969064</c:v>
                </c:pt>
                <c:pt idx="1">
                  <c:v>4.2266036919341161</c:v>
                </c:pt>
                <c:pt idx="2">
                  <c:v>6.1358592600321664</c:v>
                </c:pt>
                <c:pt idx="3">
                  <c:v>10.766147962150219</c:v>
                </c:pt>
                <c:pt idx="4">
                  <c:v>3.8910312432622818</c:v>
                </c:pt>
                <c:pt idx="5">
                  <c:v>10.60263315380012</c:v>
                </c:pt>
                <c:pt idx="6">
                  <c:v>15.06487647690655</c:v>
                </c:pt>
                <c:pt idx="7">
                  <c:v>11.612412212394579</c:v>
                </c:pt>
                <c:pt idx="8">
                  <c:v>15.576680504550531</c:v>
                </c:pt>
              </c:numCache>
            </c:numRef>
          </c:xVal>
          <c:yVal>
            <c:numRef>
              <c:f>Sheet1!$B$2:$B$10</c:f>
              <c:numCache>
                <c:formatCode>General</c:formatCode>
                <c:ptCount val="9"/>
                <c:pt idx="0">
                  <c:v>1.919480874994923</c:v>
                </c:pt>
                <c:pt idx="1">
                  <c:v>0.78030561313468361</c:v>
                </c:pt>
                <c:pt idx="2">
                  <c:v>1.3254075926179709</c:v>
                </c:pt>
                <c:pt idx="3">
                  <c:v>2.386872919282538</c:v>
                </c:pt>
                <c:pt idx="4">
                  <c:v>0.2220313593104859</c:v>
                </c:pt>
                <c:pt idx="5">
                  <c:v>2.1260192914747349</c:v>
                </c:pt>
                <c:pt idx="6">
                  <c:v>0.65113079946970265</c:v>
                </c:pt>
                <c:pt idx="7">
                  <c:v>3.069510163827748</c:v>
                </c:pt>
                <c:pt idx="8">
                  <c:v>2.6971261934175419</c:v>
                </c:pt>
              </c:numCache>
            </c:numRef>
          </c:yVal>
          <c:bubbleSize>
            <c:numRef>
              <c:f>Sheet1!$C$2:$C$10</c:f>
              <c:numCache>
                <c:formatCode>General</c:formatCode>
                <c:ptCount val="9"/>
                <c:pt idx="0">
                  <c:v>12887603</c:v>
                </c:pt>
                <c:pt idx="1">
                  <c:v>5576881</c:v>
                </c:pt>
                <c:pt idx="2">
                  <c:v>3410691</c:v>
                </c:pt>
                <c:pt idx="3">
                  <c:v>2499695</c:v>
                </c:pt>
                <c:pt idx="4">
                  <c:v>2364140</c:v>
                </c:pt>
                <c:pt idx="5">
                  <c:v>1878002</c:v>
                </c:pt>
                <c:pt idx="6">
                  <c:v>701270</c:v>
                </c:pt>
                <c:pt idx="7">
                  <c:v>395182</c:v>
                </c:pt>
                <c:pt idx="8">
                  <c:v>390227</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Intuition</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DA532-70AA-4E70-8526-23E39489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6DC5CB-9D09-46F6-9180-A15A3E3F7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AF1317-BF16-4240-BF33-693C967E1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B8B743-E518-4568-99BE-37EC46ABD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62F24F-8F5F-426A-9362-4D7EC07F6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F51E56-F296-4FB2-A298-27F39C801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1F9EC6-1366-40DA-ADE4-834885D3B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112A7-7D86-4172-88DF-5C8A5DED7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8273489925017934</c:v>
                </c:pt>
                <c:pt idx="1">
                  <c:v>5.2133906078418706</c:v>
                </c:pt>
                <c:pt idx="2">
                  <c:v>5.3926525301864832</c:v>
                </c:pt>
                <c:pt idx="3">
                  <c:v>2.847770331065683</c:v>
                </c:pt>
                <c:pt idx="4">
                  <c:v>6.0071597770139098</c:v>
                </c:pt>
                <c:pt idx="5">
                  <c:v>2.952543880658296</c:v>
                </c:pt>
                <c:pt idx="6">
                  <c:v>10.26181594589055</c:v>
                </c:pt>
                <c:pt idx="7">
                  <c:v>4.9874461613831684</c:v>
                </c:pt>
              </c:numCache>
            </c:numRef>
          </c:xVal>
          <c:yVal>
            <c:numRef>
              <c:f>Sheet1!$B$2:$B$9</c:f>
              <c:numCache>
                <c:formatCode>General</c:formatCode>
                <c:ptCount val="8"/>
                <c:pt idx="0">
                  <c:v>1.608071030354812</c:v>
                </c:pt>
                <c:pt idx="1">
                  <c:v>0.56255874301999387</c:v>
                </c:pt>
                <c:pt idx="2">
                  <c:v>0.96954464949748387</c:v>
                </c:pt>
                <c:pt idx="3">
                  <c:v>0.5203613993123074</c:v>
                </c:pt>
                <c:pt idx="4">
                  <c:v>1.6205223583096711</c:v>
                </c:pt>
                <c:pt idx="5">
                  <c:v>0.79647919599699446</c:v>
                </c:pt>
                <c:pt idx="6">
                  <c:v>1.5159101275723279</c:v>
                </c:pt>
                <c:pt idx="7">
                  <c:v>0.89676007690626158</c:v>
                </c:pt>
              </c:numCache>
            </c:numRef>
          </c:yVal>
          <c:bubbleSize>
            <c:numRef>
              <c:f>Sheet1!$C$2:$C$9</c:f>
              <c:numCache>
                <c:formatCode>General</c:formatCode>
                <c:ptCount val="8"/>
                <c:pt idx="0">
                  <c:v>1882441</c:v>
                </c:pt>
                <c:pt idx="1">
                  <c:v>484251</c:v>
                </c:pt>
                <c:pt idx="2">
                  <c:v>472515</c:v>
                </c:pt>
                <c:pt idx="3">
                  <c:v>338654</c:v>
                </c:pt>
                <c:pt idx="4">
                  <c:v>337284</c:v>
                </c:pt>
                <c:pt idx="5">
                  <c:v>258882</c:v>
                </c:pt>
                <c:pt idx="6">
                  <c:v>250337</c:v>
                </c:pt>
                <c:pt idx="7">
                  <c:v>244330</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m Pl</c:v>
                  </c:pt>
                  <c:pt idx="4">
                    <c:v>Revlon</c:v>
                  </c:pt>
                  <c:pt idx="5">
                    <c:v>Universal Prods Mktg</c:v>
                  </c:pt>
                  <c:pt idx="6">
                    <c:v>Gillette Venus</c:v>
                  </c:pt>
                  <c:pt idx="7">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FE5348-7F5C-4157-9FE3-701712762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59D478-9A11-4C72-85D0-3B442DD38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79CCE3-530B-4C7C-A125-3E64E9C86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B79D0F-8DE2-4D3A-851C-19B3FB40D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8840CC-9348-4862-9775-A0C8CE50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BC797C-FD0D-4D53-9F7D-26CF0A2A6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08180D-3635-4570-87C9-875E6D1C7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0533C3-8220-448D-8156-DD9DB8D53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8898513507054435</c:v>
                </c:pt>
                <c:pt idx="1">
                  <c:v>6.883042455997006</c:v>
                </c:pt>
                <c:pt idx="2">
                  <c:v>12.57365252161809</c:v>
                </c:pt>
                <c:pt idx="3">
                  <c:v>11.94786738178211</c:v>
                </c:pt>
                <c:pt idx="4">
                  <c:v>6.9458375342851877</c:v>
                </c:pt>
              </c:numCache>
            </c:numRef>
          </c:xVal>
          <c:yVal>
            <c:numRef>
              <c:f>Sheet1!$B$2:$B$6</c:f>
              <c:numCache>
                <c:formatCode>General</c:formatCode>
                <c:ptCount val="5"/>
                <c:pt idx="0">
                  <c:v>1.051261882902244</c:v>
                </c:pt>
                <c:pt idx="1">
                  <c:v>0.6958700725189837</c:v>
                </c:pt>
                <c:pt idx="2">
                  <c:v>1.6318644976504211</c:v>
                </c:pt>
                <c:pt idx="3">
                  <c:v>1.5987930075642629</c:v>
                </c:pt>
                <c:pt idx="4">
                  <c:v>0.60395588331028027</c:v>
                </c:pt>
              </c:numCache>
            </c:numRef>
          </c:yVal>
          <c:bubbleSize>
            <c:numRef>
              <c:f>Sheet1!$C$2:$C$6</c:f>
              <c:numCache>
                <c:formatCode>General</c:formatCode>
                <c:ptCount val="5"/>
                <c:pt idx="0">
                  <c:v>4552081</c:v>
                </c:pt>
                <c:pt idx="1">
                  <c:v>2409292</c:v>
                </c:pt>
                <c:pt idx="2">
                  <c:v>1915005</c:v>
                </c:pt>
                <c:pt idx="3">
                  <c:v>1361113</c:v>
                </c:pt>
                <c:pt idx="4">
                  <c:v>64069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03CBD3-B622-46EF-8735-29638FBD0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9DA5AE-CE17-4783-8691-0408E1DCD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47E9E4-0635-4441-B452-804B38D72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8E46C4F-0340-49BA-8C63-5F7BD26D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34B6AD-12CE-45EA-858D-43EE0D509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ED64452-45C5-4E0B-9373-7B61D9E7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13CFBD-768C-4A96-812C-BE7C2BD7E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C3EFAB-C405-4E48-BABB-CA36DBF61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414839704748269</c:v>
                </c:pt>
              </c:numCache>
            </c:numRef>
          </c:xVal>
          <c:yVal>
            <c:numRef>
              <c:f>Sheet1!$B$2:$B$2</c:f>
              <c:numCache>
                <c:formatCode>General</c:formatCode>
                <c:ptCount val="1"/>
                <c:pt idx="0">
                  <c:v>1</c:v>
                </c:pt>
              </c:numCache>
            </c:numRef>
          </c:yVal>
          <c:bubbleSize>
            <c:numRef>
              <c:f>Sheet1!$C$2:$C$2</c:f>
              <c:numCache>
                <c:formatCode>General</c:formatCode>
                <c:ptCount val="1"/>
                <c:pt idx="0">
                  <c:v>261687</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DC751B-19B1-49E0-B3EC-BE80DCCE4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4BA0D7-A04A-4E17-9351-28EE685A3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F21F41-C7AD-4A74-8096-183EE511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E01036-1B98-4343-B117-18A2C298D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4DDA25-A99E-4481-ABAA-50358D171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B6A8CE-164F-4918-8157-4D12EDFA2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1D208A-1260-4E15-9AC4-425ED6D70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BC3569-87E6-4D57-AF23-5FC49FFC0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64936840016748</c:v>
                </c:pt>
                <c:pt idx="1">
                  <c:v>3.77125250991815</c:v>
                </c:pt>
                <c:pt idx="2">
                  <c:v>5.4543390503378903</c:v>
                </c:pt>
                <c:pt idx="3">
                  <c:v>10.3876235079656</c:v>
                </c:pt>
                <c:pt idx="4">
                  <c:v>3.6681644915483411</c:v>
                </c:pt>
                <c:pt idx="5">
                  <c:v>10.11616133975482</c:v>
                </c:pt>
                <c:pt idx="6">
                  <c:v>14.99726603575184</c:v>
                </c:pt>
                <c:pt idx="7">
                  <c:v>14.81695058723944</c:v>
                </c:pt>
              </c:numCache>
            </c:numRef>
          </c:xVal>
          <c:yVal>
            <c:numRef>
              <c:f>Sheet1!$B$2:$B$9</c:f>
              <c:numCache>
                <c:formatCode>General</c:formatCode>
                <c:ptCount val="8"/>
                <c:pt idx="0">
                  <c:v>2.0966422644627012</c:v>
                </c:pt>
                <c:pt idx="1">
                  <c:v>0.76175201371948442</c:v>
                </c:pt>
                <c:pt idx="2">
                  <c:v>1.393472095290919</c:v>
                </c:pt>
                <c:pt idx="3">
                  <c:v>2.5301597674798768</c:v>
                </c:pt>
                <c:pt idx="4">
                  <c:v>0.23747824488813829</c:v>
                </c:pt>
                <c:pt idx="5">
                  <c:v>2.2254976866842919</c:v>
                </c:pt>
                <c:pt idx="6">
                  <c:v>0.69392289035259935</c:v>
                </c:pt>
                <c:pt idx="7">
                  <c:v>2.9594255356722661</c:v>
                </c:pt>
              </c:numCache>
            </c:numRef>
          </c:yVal>
          <c:bubbleSize>
            <c:numRef>
              <c:f>Sheet1!$C$2:$C$9</c:f>
              <c:numCache>
                <c:formatCode>General</c:formatCode>
                <c:ptCount val="8"/>
                <c:pt idx="0">
                  <c:v>4513938</c:v>
                </c:pt>
                <c:pt idx="1">
                  <c:v>2017160</c:v>
                </c:pt>
                <c:pt idx="2">
                  <c:v>1222781</c:v>
                </c:pt>
                <c:pt idx="3">
                  <c:v>1071286</c:v>
                </c:pt>
                <c:pt idx="4">
                  <c:v>990210</c:v>
                </c:pt>
                <c:pt idx="5">
                  <c:v>739370</c:v>
                </c:pt>
                <c:pt idx="6">
                  <c:v>213936</c:v>
                </c:pt>
                <c:pt idx="7">
                  <c:v>14003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19FE07-50EA-4B76-BEEB-CFB5CABB9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B1D101-EED0-446A-8189-024B2CEEC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33A404-7DEB-4207-A53E-6689896F3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059B32-096D-4795-A680-B09D82CCF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CB90F9-A3A8-4D2E-97AE-E12D7E8B9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181E42-CE6B-45D4-ABD3-6B609C3E5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D7E747-8115-4BDB-8D71-1BB494E06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5F9BF7-74A9-482F-9AB7-290BB557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2569543645384655</c:v>
                </c:pt>
                <c:pt idx="1">
                  <c:v>4.9491083951111996</c:v>
                </c:pt>
                <c:pt idx="2">
                  <c:v>5.1512060063355856</c:v>
                </c:pt>
                <c:pt idx="3">
                  <c:v>5.977150537634409</c:v>
                </c:pt>
                <c:pt idx="4">
                  <c:v>2.675367583463069</c:v>
                </c:pt>
                <c:pt idx="5">
                  <c:v>7.000064808813999</c:v>
                </c:pt>
                <c:pt idx="6">
                  <c:v>7.7800548652573829</c:v>
                </c:pt>
                <c:pt idx="7">
                  <c:v>4.9243493067380202</c:v>
                </c:pt>
              </c:numCache>
            </c:numRef>
          </c:xVal>
          <c:yVal>
            <c:numRef>
              <c:f>Sheet1!$B$2:$B$9</c:f>
              <c:numCache>
                <c:formatCode>General</c:formatCode>
                <c:ptCount val="8"/>
                <c:pt idx="0">
                  <c:v>1.628887536730856</c:v>
                </c:pt>
                <c:pt idx="1">
                  <c:v>0.56997263230404849</c:v>
                </c:pt>
                <c:pt idx="2">
                  <c:v>0.98856454536340388</c:v>
                </c:pt>
                <c:pt idx="3">
                  <c:v>1.7208493840789949</c:v>
                </c:pt>
                <c:pt idx="4">
                  <c:v>0.51382605190299835</c:v>
                </c:pt>
                <c:pt idx="5">
                  <c:v>1.0126408037302861</c:v>
                </c:pt>
                <c:pt idx="6">
                  <c:v>1.4931718354385879</c:v>
                </c:pt>
                <c:pt idx="7">
                  <c:v>0.943794638812952</c:v>
                </c:pt>
              </c:numCache>
            </c:numRef>
          </c:yVal>
          <c:bubbleSize>
            <c:numRef>
              <c:f>Sheet1!$C$2:$C$9</c:f>
              <c:numCache>
                <c:formatCode>General</c:formatCode>
                <c:ptCount val="8"/>
                <c:pt idx="0">
                  <c:v>757204</c:v>
                </c:pt>
                <c:pt idx="1">
                  <c:v>321113</c:v>
                </c:pt>
                <c:pt idx="2">
                  <c:v>206517</c:v>
                </c:pt>
                <c:pt idx="3">
                  <c:v>195668</c:v>
                </c:pt>
                <c:pt idx="4">
                  <c:v>154663</c:v>
                </c:pt>
                <c:pt idx="5">
                  <c:v>108011</c:v>
                </c:pt>
                <c:pt idx="6">
                  <c:v>48213</c:v>
                </c:pt>
                <c:pt idx="7">
                  <c:v>202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vlon</c:v>
                  </c:pt>
                  <c:pt idx="4">
                    <c:v>Rem Pl</c:v>
                  </c:pt>
                  <c:pt idx="5">
                    <c:v>Gillette Venus</c:v>
                  </c:pt>
                  <c:pt idx="6">
                    <c:v>Intuition</c:v>
                  </c:pt>
                  <c:pt idx="7">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8488A0-33BE-4472-B03A-6120009DB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E10234-B2F6-4AFE-940A-96DA17B2B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88A95B-B8C0-4CAC-AACB-5FF4143B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CEBF48-9ED4-4DFC-9D6B-505582061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E690FF-391F-428C-859F-F7D085650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65C6C5E-3345-416E-80E9-1EE2320FC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EEB380-E891-476D-A708-21F03E438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AAE46F-A82D-4EB4-BC6A-45C5D3515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6265854925606611</c:v>
                </c:pt>
                <c:pt idx="1">
                  <c:v>6.4980238881639334</c:v>
                </c:pt>
                <c:pt idx="2">
                  <c:v>12.42940668862159</c:v>
                </c:pt>
                <c:pt idx="3">
                  <c:v>11.371798797994099</c:v>
                </c:pt>
                <c:pt idx="4">
                  <c:v>6.2959090909090909</c:v>
                </c:pt>
              </c:numCache>
            </c:numRef>
          </c:xVal>
          <c:yVal>
            <c:numRef>
              <c:f>Sheet1!$B$2:$B$6</c:f>
              <c:numCache>
                <c:formatCode>General</c:formatCode>
                <c:ptCount val="5"/>
                <c:pt idx="0">
                  <c:v>0.98766787311063087</c:v>
                </c:pt>
                <c:pt idx="1">
                  <c:v>0.7312277586845497</c:v>
                </c:pt>
                <c:pt idx="2">
                  <c:v>1.732132610730037</c:v>
                </c:pt>
                <c:pt idx="3">
                  <c:v>1.7647040729364669</c:v>
                </c:pt>
                <c:pt idx="4">
                  <c:v>0.6296839750154466</c:v>
                </c:pt>
              </c:numCache>
            </c:numRef>
          </c:yVal>
          <c:bubbleSize>
            <c:numRef>
              <c:f>Sheet1!$C$2:$C$6</c:f>
              <c:numCache>
                <c:formatCode>General</c:formatCode>
                <c:ptCount val="5"/>
                <c:pt idx="0">
                  <c:v>1477898</c:v>
                </c:pt>
                <c:pt idx="1">
                  <c:v>1040743</c:v>
                </c:pt>
                <c:pt idx="2">
                  <c:v>705779</c:v>
                </c:pt>
                <c:pt idx="3">
                  <c:v>594131</c:v>
                </c:pt>
                <c:pt idx="4">
                  <c:v>26316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CB110D-C48A-4DB6-905F-52B005CD7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7EAF578-CD29-4653-B4BA-24863B52B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015892-19F2-4418-973F-51BEEFFD8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0CC3C8-65BC-4187-9647-35FFE950C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458FFC-6280-4E89-A2B1-76EECEA30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47E236-F7BA-4A37-96A7-939350680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3D6707-94B4-408A-B65F-99E9E6954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9C9E51-D65F-4FA4-9908-EEFCD088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498744397992921</c:v>
                </c:pt>
              </c:numCache>
            </c:numRef>
          </c:xVal>
          <c:yVal>
            <c:numRef>
              <c:f>Sheet1!$B$2:$B$2</c:f>
              <c:numCache>
                <c:formatCode>General</c:formatCode>
                <c:ptCount val="1"/>
                <c:pt idx="0">
                  <c:v>1</c:v>
                </c:pt>
              </c:numCache>
            </c:numRef>
          </c:yVal>
          <c:bubbleSize>
            <c:numRef>
              <c:f>Sheet1!$C$2:$C$2</c:f>
              <c:numCache>
                <c:formatCode>General</c:formatCode>
                <c:ptCount val="1"/>
                <c:pt idx="0">
                  <c:v>574093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08107C-26D1-4BA0-A2AF-C027DB0C3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CDD78F-CD27-4C20-A32B-A7423F540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CF5952-80AB-4A6E-88C9-882A1E99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97B577-2728-4D7C-B3D3-3BB2BBF41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AE4310-A4D7-4796-AF26-E875347D7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2B3354-6309-4903-922C-A4E68D979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8A2A85-5A73-4AC4-AE08-935A1A883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F2AC77-B3D6-4782-9269-5C0620299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7361772641697684</c:v>
                </c:pt>
                <c:pt idx="1">
                  <c:v>4.4708706422318976</c:v>
                </c:pt>
                <c:pt idx="2">
                  <c:v>10.79258616907077</c:v>
                </c:pt>
                <c:pt idx="3">
                  <c:v>6.1115133663191674</c:v>
                </c:pt>
                <c:pt idx="4">
                  <c:v>10.52420269139323</c:v>
                </c:pt>
                <c:pt idx="5">
                  <c:v>3.843497962280777</c:v>
                </c:pt>
                <c:pt idx="6">
                  <c:v>12.315692944750269</c:v>
                </c:pt>
                <c:pt idx="7">
                  <c:v>10.91927698317218</c:v>
                </c:pt>
                <c:pt idx="8">
                  <c:v>14.98502673796791</c:v>
                </c:pt>
              </c:numCache>
            </c:numRef>
          </c:xVal>
          <c:yVal>
            <c:numRef>
              <c:f>Sheet1!$B$2:$B$10</c:f>
              <c:numCache>
                <c:formatCode>General</c:formatCode>
                <c:ptCount val="9"/>
                <c:pt idx="0">
                  <c:v>1.878112637370758</c:v>
                </c:pt>
                <c:pt idx="1">
                  <c:v>0.72885884046278626</c:v>
                </c:pt>
                <c:pt idx="2">
                  <c:v>2.0479592561577449</c:v>
                </c:pt>
                <c:pt idx="3">
                  <c:v>1.16706536537505</c:v>
                </c:pt>
                <c:pt idx="4">
                  <c:v>1.814783604261033</c:v>
                </c:pt>
                <c:pt idx="5">
                  <c:v>0.1934707433112749</c:v>
                </c:pt>
                <c:pt idx="6">
                  <c:v>2.8644851577955288</c:v>
                </c:pt>
                <c:pt idx="7">
                  <c:v>2.1003633967009918</c:v>
                </c:pt>
                <c:pt idx="8">
                  <c:v>0.56836788131139826</c:v>
                </c:pt>
              </c:numCache>
            </c:numRef>
          </c:yVal>
          <c:bubbleSize>
            <c:numRef>
              <c:f>Sheet1!$C$2:$C$10</c:f>
              <c:numCache>
                <c:formatCode>General</c:formatCode>
                <c:ptCount val="9"/>
                <c:pt idx="0">
                  <c:v>79677691</c:v>
                </c:pt>
                <c:pt idx="1">
                  <c:v>34927586</c:v>
                </c:pt>
                <c:pt idx="2">
                  <c:v>23908147</c:v>
                </c:pt>
                <c:pt idx="3">
                  <c:v>20959759</c:v>
                </c:pt>
                <c:pt idx="4">
                  <c:v>17869370</c:v>
                </c:pt>
                <c:pt idx="5">
                  <c:v>12561935</c:v>
                </c:pt>
                <c:pt idx="6">
                  <c:v>4532643</c:v>
                </c:pt>
                <c:pt idx="7">
                  <c:v>4411104</c:v>
                </c:pt>
                <c:pt idx="8">
                  <c:v>313846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7EDBE1-414D-42F0-B07D-39A3DB1D2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9917C1-44FD-497A-8CF1-0E220F982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4875C0-7A99-400F-AB13-943CFB3C3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BCE447-7A2C-4282-966A-5D55A4854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D9CC41-15BD-4200-898A-AB922D008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C9B08F-5DBD-466E-990F-FD82B3892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8EBD18-5C09-4CB1-9F6C-0C22EBE13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387321-D0E4-4380-848F-9DFF802A6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56909841650967</c:v>
                </c:pt>
                <c:pt idx="1">
                  <c:v>10.773804865617221</c:v>
                </c:pt>
                <c:pt idx="2">
                  <c:v>12.711232797366099</c:v>
                </c:pt>
                <c:pt idx="3">
                  <c:v>10.516374411001181</c:v>
                </c:pt>
                <c:pt idx="4">
                  <c:v>12.82837293133128</c:v>
                </c:pt>
                <c:pt idx="5">
                  <c:v>7.0984529049333451</c:v>
                </c:pt>
                <c:pt idx="6">
                  <c:v>10.92764576129589</c:v>
                </c:pt>
                <c:pt idx="7">
                  <c:v>8.535048017578724</c:v>
                </c:pt>
              </c:numCache>
            </c:numRef>
          </c:xVal>
          <c:yVal>
            <c:numRef>
              <c:f>Sheet1!$B$2:$B$9</c:f>
              <c:numCache>
                <c:formatCode>General</c:formatCode>
                <c:ptCount val="8"/>
                <c:pt idx="0">
                  <c:v>1.3326627795232009</c:v>
                </c:pt>
                <c:pt idx="1">
                  <c:v>0.84596783014285049</c:v>
                </c:pt>
                <c:pt idx="2">
                  <c:v>1.143048222200844</c:v>
                </c:pt>
                <c:pt idx="3">
                  <c:v>0.74982669554435044</c:v>
                </c:pt>
                <c:pt idx="4">
                  <c:v>1.3146809286407941</c:v>
                </c:pt>
                <c:pt idx="5">
                  <c:v>0.51947209510573744</c:v>
                </c:pt>
                <c:pt idx="6">
                  <c:v>0.86462868979522445</c:v>
                </c:pt>
                <c:pt idx="7">
                  <c:v>0.30833104244301662</c:v>
                </c:pt>
              </c:numCache>
            </c:numRef>
          </c:yVal>
          <c:bubbleSize>
            <c:numRef>
              <c:f>Sheet1!$C$2:$C$9</c:f>
              <c:numCache>
                <c:formatCode>General</c:formatCode>
                <c:ptCount val="8"/>
                <c:pt idx="0">
                  <c:v>73613269</c:v>
                </c:pt>
                <c:pt idx="1">
                  <c:v>27479128</c:v>
                </c:pt>
                <c:pt idx="2">
                  <c:v>25631934</c:v>
                </c:pt>
                <c:pt idx="3">
                  <c:v>20485992</c:v>
                </c:pt>
                <c:pt idx="4">
                  <c:v>18064299</c:v>
                </c:pt>
                <c:pt idx="5">
                  <c:v>8292796</c:v>
                </c:pt>
                <c:pt idx="6">
                  <c:v>4800482</c:v>
                </c:pt>
                <c:pt idx="7">
                  <c:v>194990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A00AD6-E5E7-4949-B549-96B90080D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F12A10-2B67-49FC-A255-750F8D7C3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348997-863B-4AD9-9376-E8ACE68AA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DAE5FD-3CDD-4554-895A-F23877C20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4A8EB5-9357-48A8-9612-B9D6D9BBF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BADC7F-5FD9-466E-A5B5-90287FFA4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DF1026-4EB9-4D9B-90E5-A6AC68B8C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F947BD-A4F7-4C9C-8E89-AA7AEC539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508466074156502</c:v>
                </c:pt>
                <c:pt idx="1">
                  <c:v>10.562811742008011</c:v>
                </c:pt>
                <c:pt idx="2">
                  <c:v>5.4104396680493076</c:v>
                </c:pt>
                <c:pt idx="3">
                  <c:v>4.959325730093104</c:v>
                </c:pt>
                <c:pt idx="4">
                  <c:v>5.9807297730612872</c:v>
                </c:pt>
                <c:pt idx="5">
                  <c:v>2.8695449244608531</c:v>
                </c:pt>
                <c:pt idx="6">
                  <c:v>5.1643248691035124</c:v>
                </c:pt>
                <c:pt idx="7">
                  <c:v>8.9352498806549416</c:v>
                </c:pt>
                <c:pt idx="8">
                  <c:v>10.93180612650842</c:v>
                </c:pt>
              </c:numCache>
            </c:numRef>
          </c:xVal>
          <c:yVal>
            <c:numRef>
              <c:f>Sheet1!$B$2:$B$10</c:f>
              <c:numCache>
                <c:formatCode>General</c:formatCode>
                <c:ptCount val="9"/>
                <c:pt idx="0">
                  <c:v>1.375082345583359</c:v>
                </c:pt>
                <c:pt idx="1">
                  <c:v>1.62428140630384</c:v>
                </c:pt>
                <c:pt idx="2">
                  <c:v>0.87029044744110362</c:v>
                </c:pt>
                <c:pt idx="3">
                  <c:v>0.79774312513273327</c:v>
                </c:pt>
                <c:pt idx="4">
                  <c:v>1.4430862918041001</c:v>
                </c:pt>
                <c:pt idx="5">
                  <c:v>0.47106197160458391</c:v>
                </c:pt>
                <c:pt idx="6">
                  <c:v>0.49843418471110912</c:v>
                </c:pt>
                <c:pt idx="7">
                  <c:v>1.4373026157336499</c:v>
                </c:pt>
                <c:pt idx="8">
                  <c:v>1.758539015349081</c:v>
                </c:pt>
              </c:numCache>
            </c:numRef>
          </c:yVal>
          <c:bubbleSize>
            <c:numRef>
              <c:f>Sheet1!$C$2:$C$10</c:f>
              <c:numCache>
                <c:formatCode>General</c:formatCode>
                <c:ptCount val="9"/>
                <c:pt idx="0">
                  <c:v>12017642</c:v>
                </c:pt>
                <c:pt idx="1">
                  <c:v>4171867</c:v>
                </c:pt>
                <c:pt idx="2">
                  <c:v>3701812</c:v>
                </c:pt>
                <c:pt idx="3">
                  <c:v>2642542</c:v>
                </c:pt>
                <c:pt idx="4">
                  <c:v>2506787</c:v>
                </c:pt>
                <c:pt idx="5">
                  <c:v>2182573</c:v>
                </c:pt>
                <c:pt idx="6">
                  <c:v>2100899</c:v>
                </c:pt>
                <c:pt idx="7">
                  <c:v>1441229</c:v>
                </c:pt>
                <c:pt idx="8">
                  <c:v>1318988</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Clio</c:v>
                  </c:pt>
                  <c:pt idx="4">
                    <c:v>Revlon</c:v>
                  </c:pt>
                  <c:pt idx="5">
                    <c:v>Rem Pl</c:v>
                  </c:pt>
                  <c:pt idx="6">
                    <c:v>Evribeauty</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0C4D67-FDB1-4D17-8816-6823B40B9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6F03BC-AE76-4A90-8850-49ED9DA4B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3A4D9C-6F3A-4980-BD0B-109F68808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F98EDE-CB94-4FB9-9403-A66A64601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9FC167-2B9C-4A2A-8BBA-0EA5E8E78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13CB8F-A388-4795-92A2-9D259E6D0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E6302E-3C11-41EE-9900-1826BEBC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FC5189-45D6-4231-BE06-A4739992A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36005932524199</c:v>
                </c:pt>
                <c:pt idx="1">
                  <c:v>6.7298953279410672</c:v>
                </c:pt>
                <c:pt idx="2">
                  <c:v>12.81848309616073</c:v>
                </c:pt>
                <c:pt idx="3">
                  <c:v>11.92962238502472</c:v>
                </c:pt>
                <c:pt idx="4">
                  <c:v>6.9770006503855857</c:v>
                </c:pt>
              </c:numCache>
            </c:numRef>
          </c:xVal>
          <c:yVal>
            <c:numRef>
              <c:f>Sheet1!$B$2:$B$6</c:f>
              <c:numCache>
                <c:formatCode>General</c:formatCode>
                <c:ptCount val="5"/>
                <c:pt idx="0">
                  <c:v>1.1157143622594119</c:v>
                </c:pt>
                <c:pt idx="1">
                  <c:v>0.66284108068331027</c:v>
                </c:pt>
                <c:pt idx="2">
                  <c:v>1.5634434226360321</c:v>
                </c:pt>
                <c:pt idx="3">
                  <c:v>1.535164848867677</c:v>
                </c:pt>
                <c:pt idx="4">
                  <c:v>0.57832324326297624</c:v>
                </c:pt>
              </c:numCache>
            </c:numRef>
          </c:yVal>
          <c:bubbleSize>
            <c:numRef>
              <c:f>Sheet1!$C$2:$C$6</c:f>
              <c:numCache>
                <c:formatCode>General</c:formatCode>
                <c:ptCount val="5"/>
                <c:pt idx="0">
                  <c:v>28443992</c:v>
                </c:pt>
                <c:pt idx="1">
                  <c:v>14796220</c:v>
                </c:pt>
                <c:pt idx="2">
                  <c:v>11356189</c:v>
                </c:pt>
                <c:pt idx="3">
                  <c:v>9556904</c:v>
                </c:pt>
                <c:pt idx="4">
                  <c:v>390480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D462F-07B2-47C3-8A3A-E0E7207AC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444E254-F58F-4793-A9AD-F9940F529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F3A5EF-D370-4474-AD72-BDE610A52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FB23A9-7B4F-466F-9879-6C3C15AF9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535482-2545-487B-8870-28A22CE2A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BA59470-D8BD-4E76-BFF6-95D006545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E289DF-0B30-48C6-99EC-BAB22FA8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55462E-38BD-4410-8B5C-DA7E2AE57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775757575757581</c:v>
                </c:pt>
              </c:numCache>
            </c:numRef>
          </c:xVal>
          <c:yVal>
            <c:numRef>
              <c:f>Sheet1!$B$2:$B$2</c:f>
              <c:numCache>
                <c:formatCode>General</c:formatCode>
                <c:ptCount val="1"/>
                <c:pt idx="0">
                  <c:v>1</c:v>
                </c:pt>
              </c:numCache>
            </c:numRef>
          </c:yVal>
          <c:bubbleSize>
            <c:numRef>
              <c:f>Sheet1!$C$2:$C$2</c:f>
              <c:numCache>
                <c:formatCode>General</c:formatCode>
                <c:ptCount val="1"/>
                <c:pt idx="0">
                  <c:v>4152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17BBC1-7B6B-4D7E-8298-0492B1812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59A16E-D351-43B0-BD35-499F36F41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853981-4054-48A8-867E-992607DC1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623F86-BEC9-4B7C-ABF2-E5A7D185D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492546-81D0-47A9-A36C-1232BE947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21497B-7538-4588-8D7E-72DDFD327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42CEE4-C0A0-4D1F-9F11-45B7C45E3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AABE57-2103-49F8-8F4F-80D7C5850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84851508775</c:v>
                </c:pt>
                <c:pt idx="1">
                  <c:v>12.44856497903902</c:v>
                </c:pt>
                <c:pt idx="2">
                  <c:v>12.27719006299774</c:v>
                </c:pt>
                <c:pt idx="3">
                  <c:v>18.23553597650514</c:v>
                </c:pt>
                <c:pt idx="4">
                  <c:v>8.2123212321232124</c:v>
                </c:pt>
                <c:pt idx="5">
                  <c:v>15.8768115942029</c:v>
                </c:pt>
                <c:pt idx="6">
                  <c:v>14.358535614803021</c:v>
                </c:pt>
                <c:pt idx="7">
                  <c:v>13.83411115825202</c:v>
                </c:pt>
              </c:numCache>
            </c:numRef>
          </c:xVal>
          <c:yVal>
            <c:numRef>
              <c:f>Sheet1!$B$2:$B$9</c:f>
              <c:numCache>
                <c:formatCode>General</c:formatCode>
                <c:ptCount val="8"/>
                <c:pt idx="0">
                  <c:v>1.2309273665869911</c:v>
                </c:pt>
                <c:pt idx="1">
                  <c:v>0.89684352760386576</c:v>
                </c:pt>
                <c:pt idx="2">
                  <c:v>1.0201236325711189</c:v>
                </c:pt>
                <c:pt idx="3">
                  <c:v>1.5743966519347039</c:v>
                </c:pt>
                <c:pt idx="4">
                  <c:v>0.54560105015852434</c:v>
                </c:pt>
                <c:pt idx="5">
                  <c:v>1.1217361772683141</c:v>
                </c:pt>
                <c:pt idx="6">
                  <c:v>0.31412443905708443</c:v>
                </c:pt>
                <c:pt idx="7">
                  <c:v>0.6688178146646806</c:v>
                </c:pt>
              </c:numCache>
            </c:numRef>
          </c:yVal>
          <c:bubbleSize>
            <c:numRef>
              <c:f>Sheet1!$C$2:$C$9</c:f>
              <c:numCache>
                <c:formatCode>General</c:formatCode>
                <c:ptCount val="8"/>
                <c:pt idx="0">
                  <c:v>663266</c:v>
                </c:pt>
                <c:pt idx="1">
                  <c:v>115809</c:v>
                </c:pt>
                <c:pt idx="2">
                  <c:v>103288</c:v>
                </c:pt>
                <c:pt idx="3">
                  <c:v>62092</c:v>
                </c:pt>
                <c:pt idx="4">
                  <c:v>52255</c:v>
                </c:pt>
                <c:pt idx="5">
                  <c:v>46011</c:v>
                </c:pt>
                <c:pt idx="6">
                  <c:v>36083</c:v>
                </c:pt>
                <c:pt idx="7">
                  <c:v>32607</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Intuition</c:v>
                  </c:pt>
                  <c:pt idx="4">
                    <c:v>Skintimate</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DF0EB0-153A-47F3-887C-893A1A9E6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051B54-237C-4338-BBB0-4CCF50D61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E7C74D-57ED-42D7-8585-A56FB30F0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A060EC-0EFD-4645-BE70-56DD4848C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5135B7-070C-4F66-9BF7-9DB77A2D6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E4BA40-CD42-44B5-B246-B4DE6E685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FD5E08-E9D0-4A84-A18C-3FD15D154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163CDD-DC49-4B44-834B-15E0F2950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328688524590159</c:v>
                </c:pt>
                <c:pt idx="1">
                  <c:v>6.0794592812396964</c:v>
                </c:pt>
                <c:pt idx="2">
                  <c:v>27.44086021505376</c:v>
                </c:pt>
                <c:pt idx="3">
                  <c:v>7.1403805496828756</c:v>
                </c:pt>
                <c:pt idx="4">
                  <c:v>9.9833531510107019</c:v>
                </c:pt>
                <c:pt idx="5">
                  <c:v>6.9863945578231297</c:v>
                </c:pt>
                <c:pt idx="6">
                  <c:v>12.419529837251361</c:v>
                </c:pt>
                <c:pt idx="7">
                  <c:v>13.41371681415929</c:v>
                </c:pt>
                <c:pt idx="8">
                  <c:v>5.4741379310344831</c:v>
                </c:pt>
              </c:numCache>
            </c:numRef>
          </c:xVal>
          <c:yVal>
            <c:numRef>
              <c:f>Sheet1!$B$2:$B$10</c:f>
              <c:numCache>
                <c:formatCode>General</c:formatCode>
                <c:ptCount val="9"/>
                <c:pt idx="0">
                  <c:v>1.2098276183303569</c:v>
                </c:pt>
                <c:pt idx="1">
                  <c:v>0.65754377529209118</c:v>
                </c:pt>
                <c:pt idx="2">
                  <c:v>7.597279848841664</c:v>
                </c:pt>
                <c:pt idx="3">
                  <c:v>1.1456896881805509</c:v>
                </c:pt>
                <c:pt idx="4">
                  <c:v>1.0869497703612589</c:v>
                </c:pt>
                <c:pt idx="5">
                  <c:v>0.77097103947026002</c:v>
                </c:pt>
                <c:pt idx="6">
                  <c:v>1.40200944026452</c:v>
                </c:pt>
                <c:pt idx="7">
                  <c:v>1.4280918030650149</c:v>
                </c:pt>
                <c:pt idx="8">
                  <c:v>0.58165815095423878</c:v>
                </c:pt>
              </c:numCache>
            </c:numRef>
          </c:yVal>
          <c:bubbleSize>
            <c:numRef>
              <c:f>Sheet1!$C$2:$C$10</c:f>
              <c:numCache>
                <c:formatCode>General</c:formatCode>
                <c:ptCount val="9"/>
                <c:pt idx="0">
                  <c:v>50404</c:v>
                </c:pt>
                <c:pt idx="1">
                  <c:v>18439</c:v>
                </c:pt>
                <c:pt idx="2">
                  <c:v>17864</c:v>
                </c:pt>
                <c:pt idx="3">
                  <c:v>16887</c:v>
                </c:pt>
                <c:pt idx="4">
                  <c:v>16792</c:v>
                </c:pt>
                <c:pt idx="5">
                  <c:v>7189</c:v>
                </c:pt>
                <c:pt idx="6">
                  <c:v>6868</c:v>
                </c:pt>
                <c:pt idx="7">
                  <c:v>6063</c:v>
                </c:pt>
                <c:pt idx="8">
                  <c:v>254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Revlon</c:v>
                  </c:pt>
                  <c:pt idx="4">
                    <c:v>Flamingo</c:v>
                  </c:pt>
                  <c:pt idx="5">
                    <c:v>Clio</c:v>
                  </c:pt>
                  <c:pt idx="6">
                    <c:v>Japonesque</c:v>
                  </c:pt>
                  <c:pt idx="7">
                    <c:v>Billi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07F43B-3D78-4B9D-8331-02E309466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7E2AA7-0F22-44B8-84F3-893F81292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98800A-A267-4CD1-B80F-4B29BCDC8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893BD5-8ABA-4F45-AF54-799768C1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C92A27-0899-4BEA-BAAD-4D0C4C75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62AB94-BB7D-401C-9C50-86CC03075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1A7569-E4CC-46F1-9A06-EDE157DB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10B901-01FB-4FB8-BA92-3808712AF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414168461493681</c:v>
                </c:pt>
                <c:pt idx="1">
                  <c:v>13.47582651972983</c:v>
                </c:pt>
                <c:pt idx="2">
                  <c:v>19.718260399783901</c:v>
                </c:pt>
                <c:pt idx="3">
                  <c:v>8.2592346089850253</c:v>
                </c:pt>
                <c:pt idx="4">
                  <c:v>14.152219873150109</c:v>
                </c:pt>
              </c:numCache>
            </c:numRef>
          </c:xVal>
          <c:yVal>
            <c:numRef>
              <c:f>Sheet1!$B$2:$B$6</c:f>
              <c:numCache>
                <c:formatCode>General</c:formatCode>
                <c:ptCount val="5"/>
                <c:pt idx="0">
                  <c:v>0.89446805524289719</c:v>
                </c:pt>
                <c:pt idx="1">
                  <c:v>1.31893839292315</c:v>
                </c:pt>
                <c:pt idx="2">
                  <c:v>1.3741841272814259</c:v>
                </c:pt>
                <c:pt idx="3">
                  <c:v>0.60179655051163017</c:v>
                </c:pt>
                <c:pt idx="4">
                  <c:v>2.0162556922661179</c:v>
                </c:pt>
              </c:numCache>
            </c:numRef>
          </c:yVal>
          <c:bubbleSize>
            <c:numRef>
              <c:f>Sheet1!$C$2:$C$6</c:f>
              <c:numCache>
                <c:formatCode>General</c:formatCode>
                <c:ptCount val="5"/>
                <c:pt idx="0">
                  <c:v>213263</c:v>
                </c:pt>
                <c:pt idx="1">
                  <c:v>75815</c:v>
                </c:pt>
                <c:pt idx="2">
                  <c:v>72997</c:v>
                </c:pt>
                <c:pt idx="3">
                  <c:v>24819</c:v>
                </c:pt>
                <c:pt idx="4">
                  <c:v>669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15FF4A-1549-4043-B76E-5E70FDB14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A13553D-A41B-4C31-8AEC-E1378D60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8AADBA0-DEB0-4EA2-A4E7-38A7AB5AD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31F116-1621-4D1F-B91F-26E6EB45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3FE819-DFCA-4292-8AB3-0EC428B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93960B1-2A3E-4352-8FFD-649CE915B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E1AFB35-3B6C-4DE2-94DE-FDC5917EF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2A089E-1198-42FA-90E0-FBE4DB5A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816021867115222</c:v>
                </c:pt>
              </c:numCache>
            </c:numRef>
          </c:xVal>
          <c:yVal>
            <c:numRef>
              <c:f>Sheet1!$B$2:$B$2</c:f>
              <c:numCache>
                <c:formatCode>General</c:formatCode>
                <c:ptCount val="1"/>
                <c:pt idx="0">
                  <c:v>1</c:v>
                </c:pt>
              </c:numCache>
            </c:numRef>
          </c:yVal>
          <c:bubbleSize>
            <c:numRef>
              <c:f>Sheet1!$C$2:$C$2</c:f>
              <c:numCache>
                <c:formatCode>General</c:formatCode>
                <c:ptCount val="1"/>
                <c:pt idx="0">
                  <c:v>1599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EAE80D-DDC6-463C-93BD-C695ECEF8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E8AAA9-410B-4053-8949-C428B8B9B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573443-39D6-4781-B1EE-87F6FABA7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BD6B18-A253-4F61-8DB2-5F996F5A6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E63D31-860C-4A67-AB18-4E6070A62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1BF7AF-80BC-494D-B0CA-F4CFED6AD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290945-1CF8-44F8-83D9-573B45ED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DCE7D-CD64-4EFC-AFCA-BEFA9BB6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9030851323167</c:v>
                </c:pt>
                <c:pt idx="1">
                  <c:v>12.3341301843318</c:v>
                </c:pt>
                <c:pt idx="2">
                  <c:v>12.85770330474101</c:v>
                </c:pt>
                <c:pt idx="3">
                  <c:v>8.178656746979728</c:v>
                </c:pt>
                <c:pt idx="4">
                  <c:v>17.92328591976986</c:v>
                </c:pt>
                <c:pt idx="5">
                  <c:v>16.018091792039609</c:v>
                </c:pt>
                <c:pt idx="6">
                  <c:v>14.030491951938339</c:v>
                </c:pt>
                <c:pt idx="7">
                  <c:v>14.88006891068116</c:v>
                </c:pt>
              </c:numCache>
            </c:numRef>
          </c:xVal>
          <c:yVal>
            <c:numRef>
              <c:f>Sheet1!$B$2:$B$9</c:f>
              <c:numCache>
                <c:formatCode>General</c:formatCode>
                <c:ptCount val="8"/>
                <c:pt idx="0">
                  <c:v>1.210213623733907</c:v>
                </c:pt>
                <c:pt idx="1">
                  <c:v>1.0128804721955491</c:v>
                </c:pt>
                <c:pt idx="2">
                  <c:v>0.91012469819465203</c:v>
                </c:pt>
                <c:pt idx="3">
                  <c:v>0.53176577167955918</c:v>
                </c:pt>
                <c:pt idx="4">
                  <c:v>1.5778650422102261</c:v>
                </c:pt>
                <c:pt idx="5">
                  <c:v>1.085924417380701</c:v>
                </c:pt>
                <c:pt idx="6">
                  <c:v>0.65550280017055673</c:v>
                </c:pt>
                <c:pt idx="7">
                  <c:v>0.3191549112788169</c:v>
                </c:pt>
              </c:numCache>
            </c:numRef>
          </c:yVal>
          <c:bubbleSize>
            <c:numRef>
              <c:f>Sheet1!$C$2:$C$9</c:f>
              <c:numCache>
                <c:formatCode>General</c:formatCode>
                <c:ptCount val="8"/>
                <c:pt idx="0">
                  <c:v>2656379</c:v>
                </c:pt>
                <c:pt idx="1">
                  <c:v>428241</c:v>
                </c:pt>
                <c:pt idx="2">
                  <c:v>386734</c:v>
                </c:pt>
                <c:pt idx="3">
                  <c:v>239651</c:v>
                </c:pt>
                <c:pt idx="4">
                  <c:v>224292</c:v>
                </c:pt>
                <c:pt idx="5">
                  <c:v>168222</c:v>
                </c:pt>
                <c:pt idx="6">
                  <c:v>123777</c:v>
                </c:pt>
                <c:pt idx="7">
                  <c:v>11228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9DEB57-3B39-4B90-89F2-826E779B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F4C81C-5934-4D38-A8C8-7AF10386E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DCDCDE-5D37-490E-81B8-D394EC92B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9E64D7-7411-44EF-A1C7-988F26D8C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D56DD1-20C7-4CD1-9151-ADFCD37DE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E17466-C226-4E39-B01A-01DC8EFFD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40A087-1BB6-4C64-B540-DFA1BCF42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CAA650-ADA0-4AB7-AC1E-502C9E5CB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99150866581366</c:v>
                </c:pt>
                <c:pt idx="1">
                  <c:v>6.0289962825278813</c:v>
                </c:pt>
                <c:pt idx="2">
                  <c:v>26.879200000000001</c:v>
                </c:pt>
                <c:pt idx="3">
                  <c:v>9.7257571122667485</c:v>
                </c:pt>
                <c:pt idx="4">
                  <c:v>7.1430342651036973</c:v>
                </c:pt>
                <c:pt idx="5">
                  <c:v>13.361646690984889</c:v>
                </c:pt>
                <c:pt idx="6">
                  <c:v>6.5711086226203808</c:v>
                </c:pt>
                <c:pt idx="7">
                  <c:v>12.126809097174361</c:v>
                </c:pt>
                <c:pt idx="8">
                  <c:v>5.4190160309563291</c:v>
                </c:pt>
              </c:numCache>
            </c:numRef>
          </c:xVal>
          <c:yVal>
            <c:numRef>
              <c:f>Sheet1!$B$2:$B$10</c:f>
              <c:numCache>
                <c:formatCode>General</c:formatCode>
                <c:ptCount val="9"/>
                <c:pt idx="0">
                  <c:v>1.2494648487351361</c:v>
                </c:pt>
                <c:pt idx="1">
                  <c:v>0.62030129780506726</c:v>
                </c:pt>
                <c:pt idx="2">
                  <c:v>6.981308010696595</c:v>
                </c:pt>
                <c:pt idx="3">
                  <c:v>1.025565644991661</c:v>
                </c:pt>
                <c:pt idx="4">
                  <c:v>1.0964549453416019</c:v>
                </c:pt>
                <c:pt idx="5">
                  <c:v>1.367090787682365</c:v>
                </c:pt>
                <c:pt idx="6">
                  <c:v>0.68801520172327202</c:v>
                </c:pt>
                <c:pt idx="7">
                  <c:v>1.321867569150649</c:v>
                </c:pt>
                <c:pt idx="8">
                  <c:v>0.55361096191627746</c:v>
                </c:pt>
              </c:numCache>
            </c:numRef>
          </c:yVal>
          <c:bubbleSize>
            <c:numRef>
              <c:f>Sheet1!$C$2:$C$10</c:f>
              <c:numCache>
                <c:formatCode>General</c:formatCode>
                <c:ptCount val="9"/>
                <c:pt idx="0">
                  <c:v>188988</c:v>
                </c:pt>
                <c:pt idx="1">
                  <c:v>72981</c:v>
                </c:pt>
                <c:pt idx="2">
                  <c:v>67198</c:v>
                </c:pt>
                <c:pt idx="3">
                  <c:v>63587</c:v>
                </c:pt>
                <c:pt idx="4">
                  <c:v>63373</c:v>
                </c:pt>
                <c:pt idx="5">
                  <c:v>25641</c:v>
                </c:pt>
                <c:pt idx="6">
                  <c:v>23472</c:v>
                </c:pt>
                <c:pt idx="7">
                  <c:v>17596</c:v>
                </c:pt>
                <c:pt idx="8">
                  <c:v>980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Flamingo</c:v>
                  </c:pt>
                  <c:pt idx="4">
                    <c:v>Revlon</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BEF488-7D56-42D7-9A2E-8A06854A9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36DFC3-3F05-4652-9915-C56DE9099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FE003F-A98D-43DF-9431-48DE8D312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FED6E7-B4C5-4C17-8087-C0A581AEC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FB5F9B-963C-4634-8037-00433DE90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78BF26-FA73-4504-A8B5-4450621AE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596FDC-8486-4E82-9AF8-A02AC311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8ADF73-E63E-43DD-A749-16875284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31686168983841</c:v>
                </c:pt>
                <c:pt idx="1">
                  <c:v>20.123163293595791</c:v>
                </c:pt>
                <c:pt idx="2">
                  <c:v>13.33246544215111</c:v>
                </c:pt>
                <c:pt idx="3">
                  <c:v>8.2532840399590963</c:v>
                </c:pt>
                <c:pt idx="4">
                  <c:v>14.29036144578313</c:v>
                </c:pt>
              </c:numCache>
            </c:numRef>
          </c:xVal>
          <c:yVal>
            <c:numRef>
              <c:f>Sheet1!$B$2:$B$6</c:f>
              <c:numCache>
                <c:formatCode>General</c:formatCode>
                <c:ptCount val="5"/>
                <c:pt idx="0">
                  <c:v>0.90013736555507606</c:v>
                </c:pt>
                <c:pt idx="1">
                  <c:v>1.410914058554712</c:v>
                </c:pt>
                <c:pt idx="2">
                  <c:v>1.3357772661711049</c:v>
                </c:pt>
                <c:pt idx="3">
                  <c:v>0.60975820142063375</c:v>
                </c:pt>
                <c:pt idx="4">
                  <c:v>2.0846822264561058</c:v>
                </c:pt>
              </c:numCache>
            </c:numRef>
          </c:yVal>
          <c:bubbleSize>
            <c:numRef>
              <c:f>Sheet1!$C$2:$C$6</c:f>
              <c:numCache>
                <c:formatCode>General</c:formatCode>
                <c:ptCount val="5"/>
                <c:pt idx="0">
                  <c:v>906287</c:v>
                </c:pt>
                <c:pt idx="1">
                  <c:v>290337</c:v>
                </c:pt>
                <c:pt idx="2">
                  <c:v>281635</c:v>
                </c:pt>
                <c:pt idx="3">
                  <c:v>104924</c:v>
                </c:pt>
                <c:pt idx="4">
                  <c:v>2372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590129-14DB-466D-B5E9-E1637D78F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F9C998-5357-42AF-AB5F-CF05E6BBC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F849E5-0BC0-4302-B663-C1F6CC0B8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E7042F-6337-471C-80C8-B548DF173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14192B-E6B1-43CA-9FD3-F013FE41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06B22A-1DAE-4C41-A682-51ED91821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663D83-28F2-4B57-B57F-E8D6F1F4D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CABDBE-700F-4C35-B9F1-884102667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88985250557303</c:v>
                </c:pt>
                <c:pt idx="1">
                  <c:v>9.8497355561451112</c:v>
                </c:pt>
                <c:pt idx="2">
                  <c:v>6.3087949822191769</c:v>
                </c:pt>
                <c:pt idx="3">
                  <c:v>11.985153446521339</c:v>
                </c:pt>
                <c:pt idx="4">
                  <c:v>15.25680763363734</c:v>
                </c:pt>
              </c:numCache>
            </c:numRef>
          </c:xVal>
          <c:yVal>
            <c:numRef>
              <c:f>Sheet1!$B$2:$B$6</c:f>
              <c:numCache>
                <c:formatCode>General</c:formatCode>
                <c:ptCount val="5"/>
                <c:pt idx="0">
                  <c:v>1.7180180776987219</c:v>
                </c:pt>
                <c:pt idx="1">
                  <c:v>1.1116465798794211</c:v>
                </c:pt>
                <c:pt idx="2">
                  <c:v>0.23149308505737429</c:v>
                </c:pt>
                <c:pt idx="3">
                  <c:v>2.5311310530759039</c:v>
                </c:pt>
                <c:pt idx="4">
                  <c:v>0.77171164379044799</c:v>
                </c:pt>
              </c:numCache>
            </c:numRef>
          </c:yVal>
          <c:bubbleSize>
            <c:numRef>
              <c:f>Sheet1!$C$2:$C$6</c:f>
              <c:numCache>
                <c:formatCode>General</c:formatCode>
                <c:ptCount val="5"/>
                <c:pt idx="0">
                  <c:v>9818022</c:v>
                </c:pt>
                <c:pt idx="1">
                  <c:v>4603727</c:v>
                </c:pt>
                <c:pt idx="2">
                  <c:v>1546967</c:v>
                </c:pt>
                <c:pt idx="3">
                  <c:v>1118874</c:v>
                </c:pt>
                <c:pt idx="4">
                  <c:v>94015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Bic Silky Touch</c:v>
                  </c:pt>
                  <c:pt idx="3">
                    <c:v>Hydro Silk</c:v>
                  </c:pt>
                  <c:pt idx="4">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FA970-F265-42DD-BCB6-945BE6E39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CFF2A19-4A0D-45E2-A1F8-BAAFA34B8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8591FF4-F007-47BE-B113-C5038CAFB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A681F6-3F24-482C-8464-CCCA01D30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F5AAC5-1C0E-43C6-9DC9-1BA3D5229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456B98-9F30-4D5E-A459-F04974B6F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81288E-3146-41C1-AFD2-04E7B40B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8FA6FC-C86F-41DD-AE99-8E5178E6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02303140646336</c:v>
                </c:pt>
              </c:numCache>
            </c:numRef>
          </c:xVal>
          <c:yVal>
            <c:numRef>
              <c:f>Sheet1!$B$2:$B$2</c:f>
              <c:numCache>
                <c:formatCode>General</c:formatCode>
                <c:ptCount val="1"/>
                <c:pt idx="0">
                  <c:v>1</c:v>
                </c:pt>
              </c:numCache>
            </c:numRef>
          </c:yVal>
          <c:bubbleSize>
            <c:numRef>
              <c:f>Sheet1!$C$2:$C$2</c:f>
              <c:numCache>
                <c:formatCode>General</c:formatCode>
                <c:ptCount val="1"/>
                <c:pt idx="0">
                  <c:v>176013</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539D6D-B6DA-4076-9F59-5427D629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F42206-A836-4B9D-B474-B05C7BA01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14BD5C-192B-4159-918E-0BE6342F0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0AE953-7D4E-491D-8931-E62085232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397B60-9B91-4AB7-BF72-1B0931859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B6A0F3-697B-4EDE-8E6D-CAADFCF97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B47217-3C1F-45FC-9DD5-091087183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456FAC-5212-43AE-AB44-7BA63EC6B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3.17905158454777</c:v>
                </c:pt>
                <c:pt idx="1">
                  <c:v>11.98234195785543</c:v>
                </c:pt>
                <c:pt idx="2">
                  <c:v>12.397901267159449</c:v>
                </c:pt>
                <c:pt idx="3">
                  <c:v>7.8992131131055636</c:v>
                </c:pt>
                <c:pt idx="4">
                  <c:v>17.075669466580511</c:v>
                </c:pt>
                <c:pt idx="5">
                  <c:v>15.295434845420401</c:v>
                </c:pt>
                <c:pt idx="6">
                  <c:v>13.5013698630137</c:v>
                </c:pt>
                <c:pt idx="7">
                  <c:v>14.32145080946451</c:v>
                </c:pt>
              </c:numCache>
            </c:numRef>
          </c:xVal>
          <c:yVal>
            <c:numRef>
              <c:f>Sheet1!$B$2:$B$9</c:f>
              <c:numCache>
                <c:formatCode>General</c:formatCode>
                <c:ptCount val="8"/>
                <c:pt idx="0">
                  <c:v>1.171711325538737</c:v>
                </c:pt>
                <c:pt idx="1">
                  <c:v>1.047564813280851</c:v>
                </c:pt>
                <c:pt idx="2">
                  <c:v>0.9390283378685359</c:v>
                </c:pt>
                <c:pt idx="3">
                  <c:v>0.54416420075100203</c:v>
                </c:pt>
                <c:pt idx="4">
                  <c:v>1.620533957714454</c:v>
                </c:pt>
                <c:pt idx="5">
                  <c:v>1.140014766844851</c:v>
                </c:pt>
                <c:pt idx="6">
                  <c:v>0.66044225491920283</c:v>
                </c:pt>
                <c:pt idx="7">
                  <c:v>0.32702115878916432</c:v>
                </c:pt>
              </c:numCache>
            </c:numRef>
          </c:yVal>
          <c:bubbleSize>
            <c:numRef>
              <c:f>Sheet1!$C$2:$C$9</c:f>
              <c:numCache>
                <c:formatCode>General</c:formatCode>
                <c:ptCount val="8"/>
                <c:pt idx="0">
                  <c:v>2848652</c:v>
                </c:pt>
                <c:pt idx="1">
                  <c:v>449218</c:v>
                </c:pt>
                <c:pt idx="2">
                  <c:v>375706</c:v>
                </c:pt>
                <c:pt idx="3">
                  <c:v>314207</c:v>
                </c:pt>
                <c:pt idx="4">
                  <c:v>237847</c:v>
                </c:pt>
                <c:pt idx="5">
                  <c:v>211750</c:v>
                </c:pt>
                <c:pt idx="6">
                  <c:v>128128</c:v>
                </c:pt>
                <c:pt idx="7">
                  <c:v>9200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7F880C-B4D4-4628-A87A-9C658BB2E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7099B4-9E92-4E74-BA70-3E579D748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E293EC-99F8-4697-A5B1-7EF126BEE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DA1A5C-81DE-4EDD-A941-F53BB6444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21EB0F-74A5-49EF-AF59-76E331843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B5B4FB-DE2B-48CA-9941-5EC95ADA2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350527D-1E21-4EA5-8A96-114036E39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E14D61-6DDD-4577-9E2E-D0607C196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283962889330679</c:v>
                </c:pt>
                <c:pt idx="1">
                  <c:v>5.7416334955034642</c:v>
                </c:pt>
                <c:pt idx="2">
                  <c:v>7.072611844063089</c:v>
                </c:pt>
                <c:pt idx="3">
                  <c:v>28.961103573043872</c:v>
                </c:pt>
                <c:pt idx="4">
                  <c:v>9.7697620874904061</c:v>
                </c:pt>
                <c:pt idx="5">
                  <c:v>6.3567914438502671</c:v>
                </c:pt>
                <c:pt idx="6">
                  <c:v>13.06330318895764</c:v>
                </c:pt>
                <c:pt idx="7">
                  <c:v>11.68346650276583</c:v>
                </c:pt>
                <c:pt idx="8">
                  <c:v>5.4066366704161979</c:v>
                </c:pt>
              </c:numCache>
            </c:numRef>
          </c:xVal>
          <c:yVal>
            <c:numRef>
              <c:f>Sheet1!$B$2:$B$10</c:f>
              <c:numCache>
                <c:formatCode>General</c:formatCode>
                <c:ptCount val="9"/>
                <c:pt idx="0">
                  <c:v>1.182507420728137</c:v>
                </c:pt>
                <c:pt idx="1">
                  <c:v>0.63138458999264513</c:v>
                </c:pt>
                <c:pt idx="2">
                  <c:v>1.154667349212342</c:v>
                </c:pt>
                <c:pt idx="3">
                  <c:v>8.6596723293295828</c:v>
                </c:pt>
                <c:pt idx="4">
                  <c:v>1.0923815706140669</c:v>
                </c:pt>
                <c:pt idx="5">
                  <c:v>0.70897492468471524</c:v>
                </c:pt>
                <c:pt idx="6">
                  <c:v>1.419675953689397</c:v>
                </c:pt>
                <c:pt idx="7">
                  <c:v>1.3814683754949071</c:v>
                </c:pt>
                <c:pt idx="8">
                  <c:v>0.58782913735434095</c:v>
                </c:pt>
              </c:numCache>
            </c:numRef>
          </c:yVal>
          <c:bubbleSize>
            <c:numRef>
              <c:f>Sheet1!$C$2:$C$10</c:f>
              <c:numCache>
                <c:formatCode>General</c:formatCode>
                <c:ptCount val="9"/>
                <c:pt idx="0">
                  <c:v>186222</c:v>
                </c:pt>
                <c:pt idx="1">
                  <c:v>77891</c:v>
                </c:pt>
                <c:pt idx="2">
                  <c:v>71299</c:v>
                </c:pt>
                <c:pt idx="3">
                  <c:v>64033</c:v>
                </c:pt>
                <c:pt idx="4">
                  <c:v>63650</c:v>
                </c:pt>
                <c:pt idx="5">
                  <c:v>29718</c:v>
                </c:pt>
                <c:pt idx="6">
                  <c:v>27446</c:v>
                </c:pt>
                <c:pt idx="7">
                  <c:v>19009</c:v>
                </c:pt>
                <c:pt idx="8">
                  <c:v>961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1CB945-1EF2-48DB-BB57-7CBB118E6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180C02-C162-43E1-A5D3-B1FBC2E3C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E2E620-561A-47E3-9C3D-218977364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A6111C-C046-4359-967D-F32608C1F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E0EE7-0E70-4787-B88E-48D96A041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993966-20B4-41F5-BB9E-DABD7C2D2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3DE628-750D-4D19-8387-CC9DFE2D2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4DCE3C-6D28-4253-80CD-C13B68DDA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013416828025649</c:v>
                </c:pt>
                <c:pt idx="1">
                  <c:v>12.91581708194086</c:v>
                </c:pt>
                <c:pt idx="2">
                  <c:v>19.701730931607091</c:v>
                </c:pt>
                <c:pt idx="3">
                  <c:v>8.0159715525554489</c:v>
                </c:pt>
                <c:pt idx="4">
                  <c:v>13.85847880299252</c:v>
                </c:pt>
              </c:numCache>
            </c:numRef>
          </c:xVal>
          <c:yVal>
            <c:numRef>
              <c:f>Sheet1!$B$2:$B$6</c:f>
              <c:numCache>
                <c:formatCode>General</c:formatCode>
                <c:ptCount val="5"/>
                <c:pt idx="0">
                  <c:v>0.87469814054674389</c:v>
                </c:pt>
                <c:pt idx="1">
                  <c:v>1.3968976656063281</c:v>
                </c:pt>
                <c:pt idx="2">
                  <c:v>1.4774995927170009</c:v>
                </c:pt>
                <c:pt idx="3">
                  <c:v>0.6416389588412873</c:v>
                </c:pt>
                <c:pt idx="4">
                  <c:v>2.1579274866762388</c:v>
                </c:pt>
              </c:numCache>
            </c:numRef>
          </c:yVal>
          <c:bubbleSize>
            <c:numRef>
              <c:f>Sheet1!$C$2:$C$6</c:f>
              <c:numCache>
                <c:formatCode>General</c:formatCode>
                <c:ptCount val="5"/>
                <c:pt idx="0">
                  <c:v>801986</c:v>
                </c:pt>
                <c:pt idx="1">
                  <c:v>305317</c:v>
                </c:pt>
                <c:pt idx="2">
                  <c:v>280001</c:v>
                </c:pt>
                <c:pt idx="3">
                  <c:v>133001</c:v>
                </c:pt>
                <c:pt idx="4">
                  <c:v>22229</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2A6DEB-6B71-432A-B804-94FA51964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5F6CFD-E01F-402D-A05B-D861E487C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178F4ED-A48F-41A4-8A4F-381A71612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14906A-BDA3-4A2E-B5D1-7EB623738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D0D48D-A807-4B05-8AC2-770B5E66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069DB5-34C9-4CEB-B50D-AA77D2AE2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12D13-2949-4AF7-B589-77388E8E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8225CA-7F2F-4BB6-A38E-843D03520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5719280719278</c:v>
                </c:pt>
              </c:numCache>
            </c:numRef>
          </c:xVal>
          <c:yVal>
            <c:numRef>
              <c:f>Sheet1!$B$2:$B$2</c:f>
              <c:numCache>
                <c:formatCode>General</c:formatCode>
                <c:ptCount val="1"/>
                <c:pt idx="0">
                  <c:v>1</c:v>
                </c:pt>
              </c:numCache>
            </c:numRef>
          </c:yVal>
          <c:bubbleSize>
            <c:numRef>
              <c:f>Sheet1!$C$2:$C$2</c:f>
              <c:numCache>
                <c:formatCode>General</c:formatCode>
                <c:ptCount val="1"/>
                <c:pt idx="0">
                  <c:v>6969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7446CB-28DE-4C37-8B8A-2160B8D1F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96C74F-ADFE-4FBC-91B5-85905413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289FC2-644D-4044-A5F5-49D34563B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982EC1-0250-41BF-86FF-4D89EDFA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824DDA-1AFD-4DAC-A9FA-72AD5F7D9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03974D-D7E8-4523-83E6-7A39CC6C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E51679-4EB0-4570-BC0E-E38C642B7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28A877-0817-4075-B0AA-EDF64C023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700340359406219</c:v>
                </c:pt>
                <c:pt idx="1">
                  <c:v>12.37875232128645</c:v>
                </c:pt>
                <c:pt idx="2">
                  <c:v>13.041074557134509</c:v>
                </c:pt>
                <c:pt idx="3">
                  <c:v>19.212076887336309</c:v>
                </c:pt>
                <c:pt idx="4">
                  <c:v>8.4230588340686658</c:v>
                </c:pt>
                <c:pt idx="5">
                  <c:v>16.346162745854219</c:v>
                </c:pt>
                <c:pt idx="6">
                  <c:v>14.96215403435445</c:v>
                </c:pt>
                <c:pt idx="7">
                  <c:v>14.13286748190666</c:v>
                </c:pt>
              </c:numCache>
            </c:numRef>
          </c:xVal>
          <c:yVal>
            <c:numRef>
              <c:f>Sheet1!$B$2:$B$9</c:f>
              <c:numCache>
                <c:formatCode>General</c:formatCode>
                <c:ptCount val="8"/>
                <c:pt idx="0">
                  <c:v>1.23646819607129</c:v>
                </c:pt>
                <c:pt idx="1">
                  <c:v>0.94973450294924633</c:v>
                </c:pt>
                <c:pt idx="2">
                  <c:v>0.86906163244850532</c:v>
                </c:pt>
                <c:pt idx="3">
                  <c:v>1.4675121592501701</c:v>
                </c:pt>
                <c:pt idx="4">
                  <c:v>0.52381652011960578</c:v>
                </c:pt>
                <c:pt idx="5">
                  <c:v>1.047222378562239</c:v>
                </c:pt>
                <c:pt idx="6">
                  <c:v>0.3059569449812895</c:v>
                </c:pt>
                <c:pt idx="7">
                  <c:v>0.62530863968297512</c:v>
                </c:pt>
              </c:numCache>
            </c:numRef>
          </c:yVal>
          <c:bubbleSize>
            <c:numRef>
              <c:f>Sheet1!$C$2:$C$9</c:f>
              <c:numCache>
                <c:formatCode>General</c:formatCode>
                <c:ptCount val="8"/>
                <c:pt idx="0">
                  <c:v>12265624</c:v>
                </c:pt>
                <c:pt idx="1">
                  <c:v>1819788</c:v>
                </c:pt>
                <c:pt idx="2">
                  <c:v>1741792</c:v>
                </c:pt>
                <c:pt idx="3">
                  <c:v>1116433</c:v>
                </c:pt>
                <c:pt idx="4">
                  <c:v>752196</c:v>
                </c:pt>
                <c:pt idx="5">
                  <c:v>635784</c:v>
                </c:pt>
                <c:pt idx="6">
                  <c:v>587085</c:v>
                </c:pt>
                <c:pt idx="7">
                  <c:v>5663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Intuition</c:v>
                  </c:pt>
                  <c:pt idx="4">
                    <c:v>Skintimate</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DFC414-EE27-48BB-9C15-57BE2F927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187032-F1A7-454A-927C-70EAE6364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3A5F8D-B39D-408E-B0D8-1333AC786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471D9C-92B7-40D4-A63C-863A14F38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790F61-06A5-4148-801D-13C9BE780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FFFD20-6080-4BC0-82A0-846B09C96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282EC7-A677-4BF4-9B15-C63B36CDB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C599A6-258E-4AC2-BA98-DC032D733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1.257539507649691</c:v>
                </c:pt>
                <c:pt idx="1">
                  <c:v>24.116480346195459</c:v>
                </c:pt>
                <c:pt idx="2">
                  <c:v>6.1281015153381793</c:v>
                </c:pt>
                <c:pt idx="3">
                  <c:v>9.7968122691504735</c:v>
                </c:pt>
                <c:pt idx="4">
                  <c:v>7.3061802922663528</c:v>
                </c:pt>
                <c:pt idx="5">
                  <c:v>13.38529672276351</c:v>
                </c:pt>
                <c:pt idx="6">
                  <c:v>6.6671664167916038</c:v>
                </c:pt>
                <c:pt idx="7">
                  <c:v>12.41799676150821</c:v>
                </c:pt>
                <c:pt idx="8">
                  <c:v>5.3788046049519007</c:v>
                </c:pt>
              </c:numCache>
            </c:numRef>
          </c:xVal>
          <c:yVal>
            <c:numRef>
              <c:f>Sheet1!$B$2:$B$10</c:f>
              <c:numCache>
                <c:formatCode>General</c:formatCode>
                <c:ptCount val="9"/>
                <c:pt idx="0">
                  <c:v>1.275150098071002</c:v>
                </c:pt>
                <c:pt idx="1">
                  <c:v>5.4735644790665932</c:v>
                </c:pt>
                <c:pt idx="2">
                  <c:v>0.61004386511860187</c:v>
                </c:pt>
                <c:pt idx="3">
                  <c:v>0.99998012885864485</c:v>
                </c:pt>
                <c:pt idx="4">
                  <c:v>1.087665694890148</c:v>
                </c:pt>
                <c:pt idx="5">
                  <c:v>1.328242966104221</c:v>
                </c:pt>
                <c:pt idx="6">
                  <c:v>0.68213435687417423</c:v>
                </c:pt>
                <c:pt idx="7">
                  <c:v>1.3023096494016451</c:v>
                </c:pt>
                <c:pt idx="8">
                  <c:v>0.53376409919165679</c:v>
                </c:pt>
              </c:numCache>
            </c:numRef>
          </c:yVal>
          <c:bubbleSize>
            <c:numRef>
              <c:f>Sheet1!$C$2:$C$10</c:f>
              <c:numCache>
                <c:formatCode>General</c:formatCode>
                <c:ptCount val="9"/>
                <c:pt idx="0">
                  <c:v>715214</c:v>
                </c:pt>
                <c:pt idx="1">
                  <c:v>267500</c:v>
                </c:pt>
                <c:pt idx="2">
                  <c:v>248709</c:v>
                </c:pt>
                <c:pt idx="3">
                  <c:v>244019</c:v>
                </c:pt>
                <c:pt idx="4">
                  <c:v>198487</c:v>
                </c:pt>
                <c:pt idx="5">
                  <c:v>105784</c:v>
                </c:pt>
                <c:pt idx="6">
                  <c:v>84493</c:v>
                </c:pt>
                <c:pt idx="7">
                  <c:v>53683</c:v>
                </c:pt>
                <c:pt idx="8">
                  <c:v>34107</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Flamingo</c:v>
                  </c:pt>
                  <c:pt idx="4">
                    <c:v>Revlon</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94FD28-0054-4808-BAE2-0D76CFF32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D3F6B9-9E62-4B8B-9E1E-06EE9CC81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0A529E-A80D-42C2-81DE-3BB05D5D3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730F48-3C40-44CE-9736-D3361543A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350A6-8918-4DA1-BD8B-85D58FF62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9DF8B8-56BD-4BD8-A7BF-34DB24D0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93A1F5-7244-4DC3-96AD-261A26B1E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D09D07-966C-445A-8EC9-9F7A787E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180669830426501</c:v>
                </c:pt>
                <c:pt idx="1">
                  <c:v>21.12755195750152</c:v>
                </c:pt>
                <c:pt idx="2">
                  <c:v>13.7912444354965</c:v>
                </c:pt>
                <c:pt idx="3">
                  <c:v>8.4478038719354984</c:v>
                </c:pt>
                <c:pt idx="4">
                  <c:v>14.229834857376829</c:v>
                </c:pt>
              </c:numCache>
            </c:numRef>
          </c:xVal>
          <c:yVal>
            <c:numRef>
              <c:f>Sheet1!$B$2:$B$6</c:f>
              <c:numCache>
                <c:formatCode>General</c:formatCode>
                <c:ptCount val="5"/>
                <c:pt idx="0">
                  <c:v>0.90930051945621759</c:v>
                </c:pt>
                <c:pt idx="1">
                  <c:v>1.322815500216411</c:v>
                </c:pt>
                <c:pt idx="2">
                  <c:v>1.289993595492867</c:v>
                </c:pt>
                <c:pt idx="3">
                  <c:v>0.5827354381615083</c:v>
                </c:pt>
                <c:pt idx="4">
                  <c:v>1.9556988950968559</c:v>
                </c:pt>
              </c:numCache>
            </c:numRef>
          </c:yVal>
          <c:bubbleSize>
            <c:numRef>
              <c:f>Sheet1!$C$2:$C$6</c:f>
              <c:numCache>
                <c:formatCode>General</c:formatCode>
                <c:ptCount val="5"/>
                <c:pt idx="0">
                  <c:v>4360561</c:v>
                </c:pt>
                <c:pt idx="1">
                  <c:v>1495387</c:v>
                </c:pt>
                <c:pt idx="2">
                  <c:v>1233020</c:v>
                </c:pt>
                <c:pt idx="3">
                  <c:v>360434</c:v>
                </c:pt>
                <c:pt idx="4">
                  <c:v>10426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F394C5-ACEC-41DB-950E-A2637F55D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96EDC46-FDD1-4173-9374-90BF784DF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E29532F-1814-4832-9E24-52F3CD049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B2649B3-6632-42DB-88FB-C0E088A15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C5577EA-362A-4638-9498-EFE127463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835D73-315D-4E49-B06D-AE0093E20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355846-B997-4D5C-BF45-704CFDE55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CE1915-42BF-40B7-89BB-B3B8E395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5.807283543110019</c:v>
                </c:pt>
              </c:numCache>
            </c:numRef>
          </c:xVal>
          <c:yVal>
            <c:numRef>
              <c:f>Sheet1!$B$2:$B$2</c:f>
              <c:numCache>
                <c:formatCode>General</c:formatCode>
                <c:ptCount val="1"/>
                <c:pt idx="0">
                  <c:v>1</c:v>
                </c:pt>
              </c:numCache>
            </c:numRef>
          </c:yVal>
          <c:bubbleSize>
            <c:numRef>
              <c:f>Sheet1!$C$2:$C$2</c:f>
              <c:numCache>
                <c:formatCode>General</c:formatCode>
                <c:ptCount val="1"/>
                <c:pt idx="0">
                  <c:v>43579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002BC8-0EEA-49F4-94B7-0C742963A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2AEF8F-FE6F-48CA-B593-CA29FD61F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6D73C5-BBA0-4160-B3AF-D90449B0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013270-6EFE-4B16-9E6A-287BD5900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5637BA-D85C-4089-8BC8-971F2D66A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5DA594-A62E-4E75-A517-5C0B7996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97CFF6-658E-4E2D-9C4D-346B3B488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AAA2BB-E365-4E19-8826-3AF9C8545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87802353346405</c:v>
                </c:pt>
                <c:pt idx="1">
                  <c:v>11.907887090078869</c:v>
                </c:pt>
                <c:pt idx="2">
                  <c:v>12.348845113135781</c:v>
                </c:pt>
                <c:pt idx="3">
                  <c:v>8.0051223347671243</c:v>
                </c:pt>
                <c:pt idx="4">
                  <c:v>16.389263400197301</c:v>
                </c:pt>
                <c:pt idx="5">
                  <c:v>15.34872433921427</c:v>
                </c:pt>
                <c:pt idx="6">
                  <c:v>13.079059639143191</c:v>
                </c:pt>
                <c:pt idx="7">
                  <c:v>13.97784791965567</c:v>
                </c:pt>
              </c:numCache>
            </c:numRef>
          </c:xVal>
          <c:yVal>
            <c:numRef>
              <c:f>Sheet1!$B$2:$B$9</c:f>
              <c:numCache>
                <c:formatCode>General</c:formatCode>
                <c:ptCount val="8"/>
                <c:pt idx="0">
                  <c:v>1.1603742879545731</c:v>
                </c:pt>
                <c:pt idx="1">
                  <c:v>1.050415741076494</c:v>
                </c:pt>
                <c:pt idx="2">
                  <c:v>0.96749091676833732</c:v>
                </c:pt>
                <c:pt idx="3">
                  <c:v>0.54692048515955438</c:v>
                </c:pt>
                <c:pt idx="4">
                  <c:v>1.644260700573001</c:v>
                </c:pt>
                <c:pt idx="5">
                  <c:v>1.126879925199274</c:v>
                </c:pt>
                <c:pt idx="6">
                  <c:v>0.65961088591843109</c:v>
                </c:pt>
                <c:pt idx="7">
                  <c:v>0.31628085113506799</c:v>
                </c:pt>
              </c:numCache>
            </c:numRef>
          </c:yVal>
          <c:bubbleSize>
            <c:numRef>
              <c:f>Sheet1!$C$2:$C$9</c:f>
              <c:numCache>
                <c:formatCode>General</c:formatCode>
                <c:ptCount val="8"/>
                <c:pt idx="0">
                  <c:v>7178455</c:v>
                </c:pt>
                <c:pt idx="1">
                  <c:v>1147444</c:v>
                </c:pt>
                <c:pt idx="2">
                  <c:v>944699</c:v>
                </c:pt>
                <c:pt idx="3">
                  <c:v>692315</c:v>
                </c:pt>
                <c:pt idx="4">
                  <c:v>598077</c:v>
                </c:pt>
                <c:pt idx="5">
                  <c:v>468044</c:v>
                </c:pt>
                <c:pt idx="6">
                  <c:v>294305</c:v>
                </c:pt>
                <c:pt idx="7">
                  <c:v>24356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8359E3-BAC8-4FC0-BA1F-8BE37B113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F125FC-4E94-430D-B1F1-266F3BD14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C2A1B2-7CFA-4B5D-BD20-B5C1212E1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5BF373-67DB-4B48-8EEF-4E3BEF56E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8013ED-1F8F-4A63-96F0-1C9954C45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552B11-82E9-46E5-B2EB-F2336486B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CF4481-B1AD-4F26-A8BC-D07777E3E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7ED203-AA38-4A9F-80CB-40099A6D8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991135325311</c:v>
                </c:pt>
                <c:pt idx="1">
                  <c:v>16.177237987318271</c:v>
                </c:pt>
                <c:pt idx="2">
                  <c:v>13.417592303923749</c:v>
                </c:pt>
                <c:pt idx="3">
                  <c:v>16.383673089677071</c:v>
                </c:pt>
                <c:pt idx="4">
                  <c:v>10.71121590539107</c:v>
                </c:pt>
                <c:pt idx="5">
                  <c:v>14.73448948273276</c:v>
                </c:pt>
                <c:pt idx="6">
                  <c:v>15.916283573445311</c:v>
                </c:pt>
                <c:pt idx="7">
                  <c:v>13.2260725017582</c:v>
                </c:pt>
              </c:numCache>
            </c:numRef>
          </c:xVal>
          <c:yVal>
            <c:numRef>
              <c:f>Sheet1!$B$2:$B$9</c:f>
              <c:numCache>
                <c:formatCode>General</c:formatCode>
                <c:ptCount val="8"/>
                <c:pt idx="0">
                  <c:v>1.4390623088088741</c:v>
                </c:pt>
                <c:pt idx="1">
                  <c:v>1.2170610375239319</c:v>
                </c:pt>
                <c:pt idx="2">
                  <c:v>0.51360117605441336</c:v>
                </c:pt>
                <c:pt idx="3">
                  <c:v>1.1274289212711259</c:v>
                </c:pt>
                <c:pt idx="4">
                  <c:v>0.40118555740057482</c:v>
                </c:pt>
                <c:pt idx="5">
                  <c:v>0.9314120908607626</c:v>
                </c:pt>
                <c:pt idx="6">
                  <c:v>0.81136552512273574</c:v>
                </c:pt>
                <c:pt idx="7">
                  <c:v>0.73679861267981139</c:v>
                </c:pt>
              </c:numCache>
            </c:numRef>
          </c:yVal>
          <c:bubbleSize>
            <c:numRef>
              <c:f>Sheet1!$C$2:$C$9</c:f>
              <c:numCache>
                <c:formatCode>General</c:formatCode>
                <c:ptCount val="8"/>
                <c:pt idx="0">
                  <c:v>41754596</c:v>
                </c:pt>
                <c:pt idx="1">
                  <c:v>6709833</c:v>
                </c:pt>
                <c:pt idx="2">
                  <c:v>6025304</c:v>
                </c:pt>
                <c:pt idx="3">
                  <c:v>5459515</c:v>
                </c:pt>
                <c:pt idx="4">
                  <c:v>5099235</c:v>
                </c:pt>
                <c:pt idx="5">
                  <c:v>2553988</c:v>
                </c:pt>
                <c:pt idx="6">
                  <c:v>1758813</c:v>
                </c:pt>
                <c:pt idx="7">
                  <c:v>1654952</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Intuition</c:v>
                  </c:pt>
                  <c:pt idx="4">
                    <c:v>Billie</c:v>
                  </c:pt>
                  <c:pt idx="5">
                    <c:v>Flamingo</c:v>
                  </c:pt>
                  <c:pt idx="6">
                    <c:v>Jo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5C929F-E9BD-4458-893D-3559D6D42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AF02D7-4ADF-496C-974E-B1094D977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9AA471-3BB1-4046-9538-E466DF2AC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DE2A28-A6D4-426E-ADFB-F0814362A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E571A2-9257-45DC-9928-82E71E529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79BA92-E55C-4C18-97DC-7F194213E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60BA27-002A-4ACE-8AC0-6130D505C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3F6B16-620B-4A1E-B341-5D03BE34B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332040391782961</c:v>
                </c:pt>
                <c:pt idx="1">
                  <c:v>7.021989602360545</c:v>
                </c:pt>
                <c:pt idx="2">
                  <c:v>26.957365480740961</c:v>
                </c:pt>
                <c:pt idx="3">
                  <c:v>5.7667007798990717</c:v>
                </c:pt>
                <c:pt idx="4">
                  <c:v>9.506948204295254</c:v>
                </c:pt>
                <c:pt idx="5">
                  <c:v>12.91986327383213</c:v>
                </c:pt>
                <c:pt idx="6">
                  <c:v>6.3912929794744411</c:v>
                </c:pt>
                <c:pt idx="7">
                  <c:v>11.804516584333101</c:v>
                </c:pt>
                <c:pt idx="8">
                  <c:v>5.3111763472426086</c:v>
                </c:pt>
              </c:numCache>
            </c:numRef>
          </c:xVal>
          <c:yVal>
            <c:numRef>
              <c:f>Sheet1!$B$2:$B$10</c:f>
              <c:numCache>
                <c:formatCode>General</c:formatCode>
                <c:ptCount val="9"/>
                <c:pt idx="0">
                  <c:v>1.159198797400657</c:v>
                </c:pt>
                <c:pt idx="1">
                  <c:v>1.129174816053971</c:v>
                </c:pt>
                <c:pt idx="2">
                  <c:v>7.3225681793023352</c:v>
                </c:pt>
                <c:pt idx="3">
                  <c:v>0.62549759156980289</c:v>
                </c:pt>
                <c:pt idx="4">
                  <c:v>1.050077549452509</c:v>
                </c:pt>
                <c:pt idx="5">
                  <c:v>1.384973964810511</c:v>
                </c:pt>
                <c:pt idx="6">
                  <c:v>0.7006299074247917</c:v>
                </c:pt>
                <c:pt idx="7">
                  <c:v>1.3620118472212011</c:v>
                </c:pt>
                <c:pt idx="8">
                  <c:v>0.5690502000645179</c:v>
                </c:pt>
              </c:numCache>
            </c:numRef>
          </c:yVal>
          <c:bubbleSize>
            <c:numRef>
              <c:f>Sheet1!$C$2:$C$10</c:f>
              <c:numCache>
                <c:formatCode>General</c:formatCode>
                <c:ptCount val="9"/>
                <c:pt idx="0">
                  <c:v>476803</c:v>
                </c:pt>
                <c:pt idx="1">
                  <c:v>199902</c:v>
                </c:pt>
                <c:pt idx="2">
                  <c:v>183364</c:v>
                </c:pt>
                <c:pt idx="3">
                  <c:v>163411</c:v>
                </c:pt>
                <c:pt idx="4">
                  <c:v>158034</c:v>
                </c:pt>
                <c:pt idx="5">
                  <c:v>68036</c:v>
                </c:pt>
                <c:pt idx="6">
                  <c:v>48887</c:v>
                </c:pt>
                <c:pt idx="7">
                  <c:v>33454</c:v>
                </c:pt>
                <c:pt idx="8">
                  <c:v>25329</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Gillette Venus</c:v>
                  </c:pt>
                  <c:pt idx="3">
                    <c:v>Universal Razor</c:v>
                  </c:pt>
                  <c:pt idx="4">
                    <c:v>Flamingo</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C349E5-2D62-4996-8326-24EF45F61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02689C-9CA3-4F01-B93C-299FD1A09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E919C8-B8D2-41D7-9CDD-6109F69A2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FF75CC-E265-4B51-B45D-78756BD86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3F264E-F500-41AB-BCC7-AD4BBE430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422709-1D39-44A2-888B-194FF469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A4FD37-9146-4166-9195-5CF37920E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03241E-C29D-4265-819B-612CF858E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99969576023844</c:v>
                </c:pt>
                <c:pt idx="1">
                  <c:v>12.779885628188881</c:v>
                </c:pt>
                <c:pt idx="2">
                  <c:v>18.505740856901301</c:v>
                </c:pt>
                <c:pt idx="3">
                  <c:v>8.1041321458160738</c:v>
                </c:pt>
                <c:pt idx="4">
                  <c:v>13.707502799552071</c:v>
                </c:pt>
              </c:numCache>
            </c:numRef>
          </c:xVal>
          <c:yVal>
            <c:numRef>
              <c:f>Sheet1!$B$2:$B$6</c:f>
              <c:numCache>
                <c:formatCode>General</c:formatCode>
                <c:ptCount val="5"/>
                <c:pt idx="0">
                  <c:v>0.88318815572522369</c:v>
                </c:pt>
                <c:pt idx="1">
                  <c:v>1.37983583601815</c:v>
                </c:pt>
                <c:pt idx="2">
                  <c:v>1.465200277781505</c:v>
                </c:pt>
                <c:pt idx="3">
                  <c:v>0.64690089029996656</c:v>
                </c:pt>
                <c:pt idx="4">
                  <c:v>2.1271210709613939</c:v>
                </c:pt>
              </c:numCache>
            </c:numRef>
          </c:yVal>
          <c:bubbleSize>
            <c:numRef>
              <c:f>Sheet1!$C$2:$C$6</c:f>
              <c:numCache>
                <c:formatCode>General</c:formatCode>
                <c:ptCount val="5"/>
                <c:pt idx="0">
                  <c:v>2133127</c:v>
                </c:pt>
                <c:pt idx="1">
                  <c:v>746422</c:v>
                </c:pt>
                <c:pt idx="2">
                  <c:v>678550</c:v>
                </c:pt>
                <c:pt idx="3">
                  <c:v>313014</c:v>
                </c:pt>
                <c:pt idx="4">
                  <c:v>6120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C64E88-7FBA-4980-9A3A-6F5EF60A1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6CB4E38-62B9-4E4E-B8AF-FE2AB019B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C0E2B65-0CB5-44C0-8972-1F2BCA14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1131008-0CAB-4923-B421-DCD777B7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119B2E-88A5-44FB-BD25-BFF2DDC6F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13EFAF-2218-41B7-AF6E-27889D9F4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C43125-DCC5-4656-9C60-A72D1BF23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0E735A-2ABC-40F5-A66E-90716F4E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5.767812002621479</c:v>
                </c:pt>
              </c:numCache>
            </c:numRef>
          </c:xVal>
          <c:yVal>
            <c:numRef>
              <c:f>Sheet1!$B$2:$B$2</c:f>
              <c:numCache>
                <c:formatCode>General</c:formatCode>
                <c:ptCount val="1"/>
                <c:pt idx="0">
                  <c:v>1</c:v>
                </c:pt>
              </c:numCache>
            </c:numRef>
          </c:yVal>
          <c:bubbleSize>
            <c:numRef>
              <c:f>Sheet1!$C$2:$C$2</c:f>
              <c:numCache>
                <c:formatCode>General</c:formatCode>
                <c:ptCount val="1"/>
                <c:pt idx="0">
                  <c:v>168416</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8FBAF5-8C4A-4F80-BF3F-81D046452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F9F693-91CD-4675-A09A-10477631E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BADAFE-DEEB-4FC8-8A97-92933C0CC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4499BB-71A4-45D1-AFBB-49E8893D4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5CECD0-4B2F-4009-B839-B114C0F1D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52CC38-4E05-4044-AEB4-5CB4327F1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2557F8-AE02-4D6C-960E-0BA54CF9B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7FB094-89E8-4576-A658-F86E68D1C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17753921475772</c:v>
                </c:pt>
                <c:pt idx="1">
                  <c:v>7.85541316586042</c:v>
                </c:pt>
                <c:pt idx="2">
                  <c:v>12.0762801496195</c:v>
                </c:pt>
                <c:pt idx="3">
                  <c:v>12.363501155026739</c:v>
                </c:pt>
                <c:pt idx="4">
                  <c:v>14.800233918128651</c:v>
                </c:pt>
                <c:pt idx="5">
                  <c:v>15.84744370679625</c:v>
                </c:pt>
                <c:pt idx="6">
                  <c:v>13.22154963680387</c:v>
                </c:pt>
                <c:pt idx="7">
                  <c:v>14.119501691787139</c:v>
                </c:pt>
              </c:numCache>
            </c:numRef>
          </c:xVal>
          <c:yVal>
            <c:numRef>
              <c:f>Sheet1!$B$2:$B$9</c:f>
              <c:numCache>
                <c:formatCode>General</c:formatCode>
                <c:ptCount val="8"/>
                <c:pt idx="0">
                  <c:v>1.1771335782256731</c:v>
                </c:pt>
                <c:pt idx="1">
                  <c:v>0.5556604112593071</c:v>
                </c:pt>
                <c:pt idx="2">
                  <c:v>1.118954526296269</c:v>
                </c:pt>
                <c:pt idx="3">
                  <c:v>1.0242922807191619</c:v>
                </c:pt>
                <c:pt idx="4">
                  <c:v>1.140556015890033</c:v>
                </c:pt>
                <c:pt idx="5">
                  <c:v>1.75324882701936</c:v>
                </c:pt>
                <c:pt idx="6">
                  <c:v>0.69591305333474063</c:v>
                </c:pt>
                <c:pt idx="7">
                  <c:v>0.33277717156956438</c:v>
                </c:pt>
              </c:numCache>
            </c:numRef>
          </c:yVal>
          <c:bubbleSize>
            <c:numRef>
              <c:f>Sheet1!$C$2:$C$9</c:f>
              <c:numCache>
                <c:formatCode>General</c:formatCode>
                <c:ptCount val="8"/>
                <c:pt idx="0">
                  <c:v>3342905</c:v>
                </c:pt>
                <c:pt idx="1">
                  <c:v>555362</c:v>
                </c:pt>
                <c:pt idx="2">
                  <c:v>468137</c:v>
                </c:pt>
                <c:pt idx="3">
                  <c:v>390699</c:v>
                </c:pt>
                <c:pt idx="4">
                  <c:v>253084</c:v>
                </c:pt>
                <c:pt idx="5">
                  <c:v>231547</c:v>
                </c:pt>
                <c:pt idx="6">
                  <c:v>120131</c:v>
                </c:pt>
                <c:pt idx="7">
                  <c:v>91805</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Billie</c:v>
                  </c:pt>
                  <c:pt idx="3">
                    <c:v>Flamingo</c:v>
                  </c:pt>
                  <c:pt idx="4">
                    <c:v>Hydro Silk</c:v>
                  </c:pt>
                  <c:pt idx="5">
                    <c:v>Intuition</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458EEE-5762-4221-85CC-8043307D3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E5DBAC-71A0-4F13-BFDE-6F7DCDD60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145E19-339A-4969-B0E6-CCBAD0D5A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7FD1E9-67FF-440D-AABD-2D4A4DCD4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EE32B3-D267-482B-8E15-9C7E638F6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CC1D07-6FF5-4E4F-840E-E847D0742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86ED3F-CCF0-4459-A4C4-5E18DFC0C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DC952D-ED9D-4455-A00C-1DCDBC279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125543177688233</c:v>
                </c:pt>
                <c:pt idx="1">
                  <c:v>7.0626189143816456</c:v>
                </c:pt>
                <c:pt idx="2">
                  <c:v>5.7719676820394437</c:v>
                </c:pt>
                <c:pt idx="3">
                  <c:v>9.5544486430779809</c:v>
                </c:pt>
                <c:pt idx="4">
                  <c:v>27.699962866691418</c:v>
                </c:pt>
                <c:pt idx="5">
                  <c:v>6.3617021276595747</c:v>
                </c:pt>
                <c:pt idx="6">
                  <c:v>13.13055555555556</c:v>
                </c:pt>
                <c:pt idx="7">
                  <c:v>11.98628925254312</c:v>
                </c:pt>
                <c:pt idx="8">
                  <c:v>5.4730627306273059</c:v>
                </c:pt>
              </c:numCache>
            </c:numRef>
          </c:xVal>
          <c:yVal>
            <c:numRef>
              <c:f>Sheet1!$B$2:$B$10</c:f>
              <c:numCache>
                <c:formatCode>General</c:formatCode>
                <c:ptCount val="9"/>
                <c:pt idx="0">
                  <c:v>1.166195874844971</c:v>
                </c:pt>
                <c:pt idx="1">
                  <c:v>1.195758791536909</c:v>
                </c:pt>
                <c:pt idx="2">
                  <c:v>0.65822073432288497</c:v>
                </c:pt>
                <c:pt idx="3">
                  <c:v>1.1120595455169451</c:v>
                </c:pt>
                <c:pt idx="4">
                  <c:v>8.1945049801792003</c:v>
                </c:pt>
                <c:pt idx="5">
                  <c:v>0.73523725379253069</c:v>
                </c:pt>
                <c:pt idx="6">
                  <c:v>1.480037992457736</c:v>
                </c:pt>
                <c:pt idx="7">
                  <c:v>1.4401976756803869</c:v>
                </c:pt>
                <c:pt idx="8">
                  <c:v>0.61694908819993</c:v>
                </c:pt>
              </c:numCache>
            </c:numRef>
          </c:yVal>
          <c:bubbleSize>
            <c:numRef>
              <c:f>Sheet1!$C$2:$C$10</c:f>
              <c:numCache>
                <c:formatCode>General</c:formatCode>
                <c:ptCount val="9"/>
                <c:pt idx="0">
                  <c:v>248395</c:v>
                </c:pt>
                <c:pt idx="1">
                  <c:v>126209</c:v>
                </c:pt>
                <c:pt idx="2">
                  <c:v>115018</c:v>
                </c:pt>
                <c:pt idx="3">
                  <c:v>83439</c:v>
                </c:pt>
                <c:pt idx="4">
                  <c:v>74596</c:v>
                </c:pt>
                <c:pt idx="5">
                  <c:v>38571</c:v>
                </c:pt>
                <c:pt idx="6">
                  <c:v>28362</c:v>
                </c:pt>
                <c:pt idx="7">
                  <c:v>27101</c:v>
                </c:pt>
                <c:pt idx="8">
                  <c:v>14832</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Gillette Venus</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3D39E8-8D28-4D1A-BE9F-152D346A0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66CDB2-85F3-4E63-948F-34A27D062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DB95D8-CD26-46E9-9619-E66D7152D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F93784-879D-4C1D-9FB3-DEC9460EC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EDF9C-AEE2-435B-962E-D42FFD48D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168641-CF96-4AF1-8373-4EF89D138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17589A-2B13-4455-981B-7D35933BB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97B6ACA-760C-4088-95B6-BCDB6691E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250453163512899</c:v>
                </c:pt>
                <c:pt idx="1">
                  <c:v>12.324841168996191</c:v>
                </c:pt>
                <c:pt idx="2">
                  <c:v>17.961761894256931</c:v>
                </c:pt>
                <c:pt idx="3">
                  <c:v>7.9173267707452126</c:v>
                </c:pt>
                <c:pt idx="4">
                  <c:v>13.997808219178079</c:v>
                </c:pt>
              </c:numCache>
            </c:numRef>
          </c:xVal>
          <c:yVal>
            <c:numRef>
              <c:f>Sheet1!$B$2:$B$6</c:f>
              <c:numCache>
                <c:formatCode>General</c:formatCode>
                <c:ptCount val="5"/>
                <c:pt idx="0">
                  <c:v>0.8760359820516046</c:v>
                </c:pt>
                <c:pt idx="1">
                  <c:v>1.510829463257769</c:v>
                </c:pt>
                <c:pt idx="2">
                  <c:v>1.6327634491467189</c:v>
                </c:pt>
                <c:pt idx="3">
                  <c:v>0.69703592373999512</c:v>
                </c:pt>
                <c:pt idx="4">
                  <c:v>2.3982632247562252</c:v>
                </c:pt>
              </c:numCache>
            </c:numRef>
          </c:yVal>
          <c:bubbleSize>
            <c:numRef>
              <c:f>Sheet1!$C$2:$C$6</c:f>
              <c:numCache>
                <c:formatCode>General</c:formatCode>
                <c:ptCount val="5"/>
                <c:pt idx="0">
                  <c:v>1068784</c:v>
                </c:pt>
                <c:pt idx="1">
                  <c:v>387986</c:v>
                </c:pt>
                <c:pt idx="2">
                  <c:v>244262</c:v>
                </c:pt>
                <c:pt idx="3">
                  <c:v>205898</c:v>
                </c:pt>
                <c:pt idx="4">
                  <c:v>25546</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2EA61-779F-49C6-B3D0-6A3EB8F4B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FAF262A-CE3D-4D7A-8D6A-46F33A040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938C78-4A06-4BC1-A7F0-C972C9E65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631B3A4-5125-4F09-B888-7BE167071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8E3830-28D2-4C81-93B5-49815E609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A86CBC-2A50-4481-AAAD-4DF068276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E29766-6C30-467A-AA48-83F12CB30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3B1122-7A03-4F38-95D2-27A63D49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751181260681609</c:v>
                </c:pt>
              </c:numCache>
            </c:numRef>
          </c:xVal>
          <c:yVal>
            <c:numRef>
              <c:f>Sheet1!$B$2:$B$2</c:f>
              <c:numCache>
                <c:formatCode>General</c:formatCode>
                <c:ptCount val="1"/>
                <c:pt idx="0">
                  <c:v>1</c:v>
                </c:pt>
              </c:numCache>
            </c:numRef>
          </c:yVal>
          <c:bubbleSize>
            <c:numRef>
              <c:f>Sheet1!$C$2:$C$2</c:f>
              <c:numCache>
                <c:formatCode>General</c:formatCode>
                <c:ptCount val="1"/>
                <c:pt idx="0">
                  <c:v>16662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559F21-9D0A-478F-A72B-7E9AAA266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EED173-97CD-4FA8-B645-1D1CDB128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07E137-7F48-4117-846E-6D64A6C3E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C12780-9D4D-4AFF-A019-44D57A713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458310-08B9-4BB6-B6AB-3FF848568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E1124E-DF33-4E95-8243-BD8E85597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02DA86-7D7A-4032-AB35-9500537DF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347869-8D11-447A-AB95-4DE5F87D1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5221756915699</c:v>
                </c:pt>
                <c:pt idx="1">
                  <c:v>12.677933698608539</c:v>
                </c:pt>
                <c:pt idx="2">
                  <c:v>12.16235468315425</c:v>
                </c:pt>
                <c:pt idx="3">
                  <c:v>8.2002859105508428</c:v>
                </c:pt>
                <c:pt idx="4">
                  <c:v>17.787167449139279</c:v>
                </c:pt>
                <c:pt idx="5">
                  <c:v>15.532233972635479</c:v>
                </c:pt>
                <c:pt idx="6">
                  <c:v>14.15857628590031</c:v>
                </c:pt>
                <c:pt idx="7">
                  <c:v>13.608733752008179</c:v>
                </c:pt>
              </c:numCache>
            </c:numRef>
          </c:xVal>
          <c:yVal>
            <c:numRef>
              <c:f>Sheet1!$B$2:$B$9</c:f>
              <c:numCache>
                <c:formatCode>General</c:formatCode>
                <c:ptCount val="8"/>
                <c:pt idx="0">
                  <c:v>1.254878277986625</c:v>
                </c:pt>
                <c:pt idx="1">
                  <c:v>0.92614277649110233</c:v>
                </c:pt>
                <c:pt idx="2">
                  <c:v>1.043574541591699</c:v>
                </c:pt>
                <c:pt idx="3">
                  <c:v>0.5344742003309213</c:v>
                </c:pt>
                <c:pt idx="4">
                  <c:v>1.6116132902190841</c:v>
                </c:pt>
                <c:pt idx="5">
                  <c:v>1.0603220305295289</c:v>
                </c:pt>
                <c:pt idx="6">
                  <c:v>0.30395480000808722</c:v>
                </c:pt>
                <c:pt idx="7">
                  <c:v>0.66924906046852328</c:v>
                </c:pt>
              </c:numCache>
            </c:numRef>
          </c:yVal>
          <c:bubbleSize>
            <c:numRef>
              <c:f>Sheet1!$C$2:$C$9</c:f>
              <c:numCache>
                <c:formatCode>General</c:formatCode>
                <c:ptCount val="8"/>
                <c:pt idx="0">
                  <c:v>4146123</c:v>
                </c:pt>
                <c:pt idx="1">
                  <c:v>643253</c:v>
                </c:pt>
                <c:pt idx="2">
                  <c:v>607838</c:v>
                </c:pt>
                <c:pt idx="3">
                  <c:v>441692</c:v>
                </c:pt>
                <c:pt idx="4">
                  <c:v>284150</c:v>
                </c:pt>
                <c:pt idx="5">
                  <c:v>259963</c:v>
                </c:pt>
                <c:pt idx="6">
                  <c:v>195714</c:v>
                </c:pt>
                <c:pt idx="7">
                  <c:v>186358</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Skintimate</c:v>
                  </c:pt>
                  <c:pt idx="4">
                    <c:v>Intuition</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85E2F3-D615-4C3A-9B20-EAD6D6339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210789-B089-457D-9E6F-BA81AFA8B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78F301-48AD-46A4-AB1C-BEF1F8FB2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2E5C77-7CA3-454A-B1CB-6E04FD333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9AA1E4-7225-40CD-8863-0337590B0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5F49ED-F9F6-42E9-B3C8-C6A55C84A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349B63-D309-4D7B-831E-6301F3A62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B50357-99A0-4B92-8988-4206C993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5040515844281</c:v>
                </c:pt>
                <c:pt idx="1">
                  <c:v>5.8943554908620408</c:v>
                </c:pt>
                <c:pt idx="2">
                  <c:v>9.6682476496993317</c:v>
                </c:pt>
                <c:pt idx="3">
                  <c:v>7.1043180846515606</c:v>
                </c:pt>
                <c:pt idx="4">
                  <c:v>23.652834740651389</c:v>
                </c:pt>
                <c:pt idx="5">
                  <c:v>6.5579861837973628</c:v>
                </c:pt>
                <c:pt idx="6">
                  <c:v>13.266877220686929</c:v>
                </c:pt>
                <c:pt idx="7">
                  <c:v>5.4456338028169018</c:v>
                </c:pt>
              </c:numCache>
            </c:numRef>
          </c:xVal>
          <c:yVal>
            <c:numRef>
              <c:f>Sheet1!$B$2:$B$9</c:f>
              <c:numCache>
                <c:formatCode>General</c:formatCode>
                <c:ptCount val="8"/>
                <c:pt idx="0">
                  <c:v>1.3806433079053451</c:v>
                </c:pt>
                <c:pt idx="1">
                  <c:v>0.72437360919090277</c:v>
                </c:pt>
                <c:pt idx="2">
                  <c:v>1.2008836816922781</c:v>
                </c:pt>
                <c:pt idx="3">
                  <c:v>1.2871454540222269</c:v>
                </c:pt>
                <c:pt idx="4">
                  <c:v>6.4606036039216601</c:v>
                </c:pt>
                <c:pt idx="5">
                  <c:v>0.81441223235032179</c:v>
                </c:pt>
                <c:pt idx="6">
                  <c:v>1.601731970066661</c:v>
                </c:pt>
                <c:pt idx="7">
                  <c:v>0.65746081413847679</c:v>
                </c:pt>
              </c:numCache>
            </c:numRef>
          </c:yVal>
          <c:bubbleSize>
            <c:numRef>
              <c:f>Sheet1!$C$2:$C$9</c:f>
              <c:numCache>
                <c:formatCode>General</c:formatCode>
                <c:ptCount val="8"/>
                <c:pt idx="0">
                  <c:v>297272</c:v>
                </c:pt>
                <c:pt idx="1">
                  <c:v>182224</c:v>
                </c:pt>
                <c:pt idx="2">
                  <c:v>114153</c:v>
                </c:pt>
                <c:pt idx="3">
                  <c:v>99702</c:v>
                </c:pt>
                <c:pt idx="4">
                  <c:v>98041</c:v>
                </c:pt>
                <c:pt idx="5">
                  <c:v>62655</c:v>
                </c:pt>
                <c:pt idx="6">
                  <c:v>33605</c:v>
                </c:pt>
                <c:pt idx="7">
                  <c:v>19332</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Gillette Venus</c:v>
                  </c:pt>
                  <c:pt idx="5">
                    <c:v>Clio</c:v>
                  </c:pt>
                  <c:pt idx="6">
                    <c:v>Billi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6404A3-E7B3-49D2-B90F-B97FF7EEB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18FEB8-4D10-4842-B8A9-4BA35640A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4C068F-D69F-4317-A67C-FBCA3B732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2E1309-F3DD-4B65-A919-182F864A1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5CB42B-36F3-4055-84FA-B19D12517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D49BAB-19DF-4182-8981-7F6E2EDDA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21EFC1-A71C-4923-9179-983019BDE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3BB12B-050C-49BE-A2CD-4072E72F5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0865514301217</c:v>
                </c:pt>
                <c:pt idx="1">
                  <c:v>13.08892537471532</c:v>
                </c:pt>
                <c:pt idx="2">
                  <c:v>18.597209205456629</c:v>
                </c:pt>
                <c:pt idx="3">
                  <c:v>8.3052009993186466</c:v>
                </c:pt>
                <c:pt idx="4">
                  <c:v>14.10792525773196</c:v>
                </c:pt>
              </c:numCache>
            </c:numRef>
          </c:xVal>
          <c:yVal>
            <c:numRef>
              <c:f>Sheet1!$B$2:$B$6</c:f>
              <c:numCache>
                <c:formatCode>General</c:formatCode>
                <c:ptCount val="5"/>
                <c:pt idx="0">
                  <c:v>0.90515894613971326</c:v>
                </c:pt>
                <c:pt idx="1">
                  <c:v>1.382484241810868</c:v>
                </c:pt>
                <c:pt idx="2">
                  <c:v>1.4510630415804999</c:v>
                </c:pt>
                <c:pt idx="3">
                  <c:v>0.62989873268319585</c:v>
                </c:pt>
                <c:pt idx="4">
                  <c:v>2.1096585976716362</c:v>
                </c:pt>
              </c:numCache>
            </c:numRef>
          </c:yVal>
          <c:bubbleSize>
            <c:numRef>
              <c:f>Sheet1!$C$2:$C$6</c:f>
              <c:numCache>
                <c:formatCode>General</c:formatCode>
                <c:ptCount val="5"/>
                <c:pt idx="0">
                  <c:v>1559286</c:v>
                </c:pt>
                <c:pt idx="1">
                  <c:v>494264</c:v>
                </c:pt>
                <c:pt idx="2">
                  <c:v>357178</c:v>
                </c:pt>
                <c:pt idx="3">
                  <c:v>182839</c:v>
                </c:pt>
                <c:pt idx="4">
                  <c:v>4379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DE6C9A-C221-43B8-AC0A-BF853596E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822F42-BE6A-411C-9CBE-6AB4B15E6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A9AC3C-FF5E-4770-9C3A-F7EF682D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C0D6A5-7542-4966-A4CB-6DBCCDF93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FF7CC2-7FE5-4A63-B174-E6698C6F5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2DB6C3-BE54-49FE-9689-A0D182851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5C5D77-144D-44B0-AEB1-F14271935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FB4FDE-44A1-472F-B5D4-E307DAE0C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782379573874735</c:v>
                </c:pt>
                <c:pt idx="1">
                  <c:v>8.0907865881047378</c:v>
                </c:pt>
                <c:pt idx="2">
                  <c:v>12.400435084886411</c:v>
                </c:pt>
                <c:pt idx="3">
                  <c:v>14.52859602040053</c:v>
                </c:pt>
                <c:pt idx="4">
                  <c:v>13.70559384599499</c:v>
                </c:pt>
              </c:numCache>
            </c:numRef>
          </c:xVal>
          <c:yVal>
            <c:numRef>
              <c:f>Sheet1!$B$2:$B$6</c:f>
              <c:numCache>
                <c:formatCode>General</c:formatCode>
                <c:ptCount val="5"/>
                <c:pt idx="0">
                  <c:v>1.088436698708523</c:v>
                </c:pt>
                <c:pt idx="1">
                  <c:v>0.83139497268139007</c:v>
                </c:pt>
                <c:pt idx="2">
                  <c:v>1.666172666778361</c:v>
                </c:pt>
                <c:pt idx="3">
                  <c:v>0.49834083407486379</c:v>
                </c:pt>
                <c:pt idx="4">
                  <c:v>1.8777540880807599</c:v>
                </c:pt>
              </c:numCache>
            </c:numRef>
          </c:yVal>
          <c:bubbleSize>
            <c:numRef>
              <c:f>Sheet1!$C$2:$C$6</c:f>
              <c:numCache>
                <c:formatCode>General</c:formatCode>
                <c:ptCount val="5"/>
                <c:pt idx="0">
                  <c:v>16500732</c:v>
                </c:pt>
                <c:pt idx="1">
                  <c:v>4286968</c:v>
                </c:pt>
                <c:pt idx="2">
                  <c:v>1658769</c:v>
                </c:pt>
                <c:pt idx="3">
                  <c:v>1358816</c:v>
                </c:pt>
                <c:pt idx="4">
                  <c:v>530941</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D0323A-8AB8-47F1-881E-5FFFB4E72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442C465-FE49-4864-AD9D-8288839FD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6D0F40-160B-4B4E-8349-DDC7DAA75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DA7B7B-1C79-4BDE-8DE4-4E9D7DB6D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A9FDB5-E7E2-4700-8A48-CAE34AEEA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F37158-11DC-4AEC-9EE5-A93371AF1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71CCFE-DAEF-4F03-85F1-E461B642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A9166C-8CB0-4BC3-B779-6991DD27A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43192488262911</c:v>
                </c:pt>
              </c:numCache>
            </c:numRef>
          </c:xVal>
          <c:yVal>
            <c:numRef>
              <c:f>Sheet1!$B$2:$B$2</c:f>
              <c:numCache>
                <c:formatCode>General</c:formatCode>
                <c:ptCount val="1"/>
                <c:pt idx="0">
                  <c:v>1</c:v>
                </c:pt>
              </c:numCache>
            </c:numRef>
          </c:yVal>
          <c:bubbleSize>
            <c:numRef>
              <c:f>Sheet1!$C$2:$C$2</c:f>
              <c:numCache>
                <c:formatCode>General</c:formatCode>
                <c:ptCount val="1"/>
                <c:pt idx="0">
                  <c:v>21518</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95F75C-DE2F-409D-841D-23559A04D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71B3F3-3BBF-4265-94E6-B2CE29B04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98D5A3-A252-4CA6-BB16-AEBAFC48A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EF54F2-F316-46DB-9A3A-F92905230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60D94A-6CE7-4AB8-BFC2-BF4B352DD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A9D0E5-33EC-4E5F-840D-E9C9A47AE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C1154F-9F91-4190-A65B-56DA2DF98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80A060-F75A-46E1-94C1-985E8DC7F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163620447250437</c:v>
                </c:pt>
                <c:pt idx="1">
                  <c:v>3.9125021503526578</c:v>
                </c:pt>
                <c:pt idx="2">
                  <c:v>6.322519373955326</c:v>
                </c:pt>
                <c:pt idx="3">
                  <c:v>11.496463932107501</c:v>
                </c:pt>
                <c:pt idx="4">
                  <c:v>3.8638603969628349</c:v>
                </c:pt>
                <c:pt idx="5">
                  <c:v>11.188397008287851</c:v>
                </c:pt>
                <c:pt idx="6">
                  <c:v>16.049342105263161</c:v>
                </c:pt>
                <c:pt idx="7">
                  <c:v>17.06954102920723</c:v>
                </c:pt>
                <c:pt idx="8">
                  <c:v>12.28054298642534</c:v>
                </c:pt>
              </c:numCache>
            </c:numRef>
          </c:xVal>
          <c:yVal>
            <c:numRef>
              <c:f>Sheet1!$B$2:$B$10</c:f>
              <c:numCache>
                <c:formatCode>General</c:formatCode>
                <c:ptCount val="9"/>
                <c:pt idx="0">
                  <c:v>1.9834823209072401</c:v>
                </c:pt>
                <c:pt idx="1">
                  <c:v>0.68647014565461795</c:v>
                </c:pt>
                <c:pt idx="2">
                  <c:v>1.393568922492286</c:v>
                </c:pt>
                <c:pt idx="3">
                  <c:v>2.293201572754259</c:v>
                </c:pt>
                <c:pt idx="4">
                  <c:v>0.2192832518991138</c:v>
                </c:pt>
                <c:pt idx="5">
                  <c:v>2.193912912673937</c:v>
                </c:pt>
                <c:pt idx="6">
                  <c:v>0.64745073698754874</c:v>
                </c:pt>
                <c:pt idx="7">
                  <c:v>2.7312868378814952</c:v>
                </c:pt>
                <c:pt idx="8">
                  <c:v>2.347262075836321</c:v>
                </c:pt>
              </c:numCache>
            </c:numRef>
          </c:yVal>
          <c:bubbleSize>
            <c:numRef>
              <c:f>Sheet1!$C$2:$C$10</c:f>
              <c:numCache>
                <c:formatCode>General</c:formatCode>
                <c:ptCount val="9"/>
                <c:pt idx="0">
                  <c:v>362508</c:v>
                </c:pt>
                <c:pt idx="1">
                  <c:v>181947</c:v>
                </c:pt>
                <c:pt idx="2">
                  <c:v>83217</c:v>
                </c:pt>
                <c:pt idx="3">
                  <c:v>73152</c:v>
                </c:pt>
                <c:pt idx="4">
                  <c:v>58012</c:v>
                </c:pt>
                <c:pt idx="5">
                  <c:v>55349</c:v>
                </c:pt>
                <c:pt idx="6">
                  <c:v>14637</c:v>
                </c:pt>
                <c:pt idx="7">
                  <c:v>12273</c:v>
                </c:pt>
                <c:pt idx="8">
                  <c:v>1085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Hydro Silk</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CBF14F-F79B-4F8C-A4FC-6DA3BA4CD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0D03E3-8AFF-49F4-92E4-B6763897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04B694-2097-449C-B01F-B560B4372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5081CF-3D1B-4F4B-B047-F4DA83DC4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6867EB-62E4-4B3B-981D-F68936A8C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D8A9F9-691C-4BD2-AD7C-5A5C71FF4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6A2296-F828-4AF2-8643-2D463FD2F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F3461E-B68A-4BB4-95D1-47EA1444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983860955927998</c:v>
                </c:pt>
                <c:pt idx="1">
                  <c:v>5.9584745762711862</c:v>
                </c:pt>
                <c:pt idx="2">
                  <c:v>5.246468722974921</c:v>
                </c:pt>
                <c:pt idx="3">
                  <c:v>3.3026149304091099</c:v>
                </c:pt>
                <c:pt idx="4">
                  <c:v>5.4563922942206657</c:v>
                </c:pt>
                <c:pt idx="5">
                  <c:v>6.6629213483146064</c:v>
                </c:pt>
                <c:pt idx="6">
                  <c:v>11.591807909604521</c:v>
                </c:pt>
                <c:pt idx="7">
                  <c:v>2.9807395993836669</c:v>
                </c:pt>
              </c:numCache>
            </c:numRef>
          </c:xVal>
          <c:yVal>
            <c:numRef>
              <c:f>Sheet1!$B$2:$B$9</c:f>
              <c:numCache>
                <c:formatCode>General</c:formatCode>
                <c:ptCount val="8"/>
                <c:pt idx="0">
                  <c:v>1.507478066356541</c:v>
                </c:pt>
                <c:pt idx="1">
                  <c:v>0.96514770201062372</c:v>
                </c:pt>
                <c:pt idx="2">
                  <c:v>0.51069729471046921</c:v>
                </c:pt>
                <c:pt idx="3">
                  <c:v>0.55567706831979558</c:v>
                </c:pt>
                <c:pt idx="4">
                  <c:v>0.88371479666755781</c:v>
                </c:pt>
                <c:pt idx="5">
                  <c:v>1.621259244503801</c:v>
                </c:pt>
                <c:pt idx="6">
                  <c:v>1.8742843034852099</c:v>
                </c:pt>
                <c:pt idx="7">
                  <c:v>0.72488192698554987</c:v>
                </c:pt>
              </c:numCache>
            </c:numRef>
          </c:yVal>
          <c:bubbleSize>
            <c:numRef>
              <c:f>Sheet1!$C$2:$C$9</c:f>
              <c:numCache>
                <c:formatCode>General</c:formatCode>
                <c:ptCount val="8"/>
                <c:pt idx="0">
                  <c:v>75704</c:v>
                </c:pt>
                <c:pt idx="1">
                  <c:v>21093</c:v>
                </c:pt>
                <c:pt idx="2">
                  <c:v>18200</c:v>
                </c:pt>
                <c:pt idx="3">
                  <c:v>15661</c:v>
                </c:pt>
                <c:pt idx="4">
                  <c:v>15578</c:v>
                </c:pt>
                <c:pt idx="5">
                  <c:v>13639</c:v>
                </c:pt>
                <c:pt idx="6">
                  <c:v>8207</c:v>
                </c:pt>
                <c:pt idx="7">
                  <c:v>7738</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Rem Pl</c:v>
                  </c:pt>
                  <c:pt idx="4">
                    <c:v>Clio</c:v>
                  </c:pt>
                  <c:pt idx="5">
                    <c:v>Revlon</c:v>
                  </c:pt>
                  <c:pt idx="6">
                    <c:v>Japonesque</c:v>
                  </c:pt>
                  <c:pt idx="7">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3021BA-8B8B-4326-9415-1AEE0A6A6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FF59D9-A915-45F7-BD0F-6F3D9B1A0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E5E7CC-4FD7-4093-B169-26ED7710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7AA543-5C2E-4345-AF83-2776C88D8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9B4F1F-C280-436C-8EFC-EFFE3D7C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D36665-6321-4C67-9176-9948F4FE3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101217-2A21-4C1E-8910-A25CC3F78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0E7C130-D678-4F2A-9084-7EDC65136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94511726259131</c:v>
                </c:pt>
                <c:pt idx="1">
                  <c:v>7.1282396088019562</c:v>
                </c:pt>
                <c:pt idx="2">
                  <c:v>13.493425770977771</c:v>
                </c:pt>
                <c:pt idx="3">
                  <c:v>12.83100381194409</c:v>
                </c:pt>
                <c:pt idx="4">
                  <c:v>6.3266272189349113</c:v>
                </c:pt>
              </c:numCache>
            </c:numRef>
          </c:xVal>
          <c:yVal>
            <c:numRef>
              <c:f>Sheet1!$B$2:$B$6</c:f>
              <c:numCache>
                <c:formatCode>General</c:formatCode>
                <c:ptCount val="5"/>
                <c:pt idx="0">
                  <c:v>1.065595495326751</c:v>
                </c:pt>
                <c:pt idx="1">
                  <c:v>0.64736398458230793</c:v>
                </c:pt>
                <c:pt idx="2">
                  <c:v>1.515139543224123</c:v>
                </c:pt>
                <c:pt idx="3">
                  <c:v>1.4943908788255711</c:v>
                </c:pt>
                <c:pt idx="4">
                  <c:v>0.57817814142859292</c:v>
                </c:pt>
              </c:numCache>
            </c:numRef>
          </c:yVal>
          <c:bubbleSize>
            <c:numRef>
              <c:f>Sheet1!$C$2:$C$6</c:f>
              <c:numCache>
                <c:formatCode>General</c:formatCode>
                <c:ptCount val="5"/>
                <c:pt idx="0">
                  <c:v>113873</c:v>
                </c:pt>
                <c:pt idx="1">
                  <c:v>58309</c:v>
                </c:pt>
                <c:pt idx="2">
                  <c:v>56443</c:v>
                </c:pt>
                <c:pt idx="3">
                  <c:v>40392</c:v>
                </c:pt>
                <c:pt idx="4">
                  <c:v>1069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9AACD8-6875-4A3A-A46A-9C414A59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F1C0D2-8644-4437-93CF-F70829717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4E34377-650D-434E-87AC-3C97E0A85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9AFAA9-09FC-47A3-98A6-231A3926E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955F0F1-90F2-425D-8B29-E84335A6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F06788-3DBE-4DD6-A777-D66BFA617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9A5211-BD2B-42A1-8EAD-0AAD12F07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5F808D-14C9-40DB-AD5C-3BE92EA2F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0251002447534</c:v>
                </c:pt>
              </c:numCache>
            </c:numRef>
          </c:xVal>
          <c:yVal>
            <c:numRef>
              <c:f>Sheet1!$B$2:$B$2</c:f>
              <c:numCache>
                <c:formatCode>General</c:formatCode>
                <c:ptCount val="1"/>
                <c:pt idx="0">
                  <c:v>1</c:v>
                </c:pt>
              </c:numCache>
            </c:numRef>
          </c:yVal>
          <c:bubbleSize>
            <c:numRef>
              <c:f>Sheet1!$C$2:$C$2</c:f>
              <c:numCache>
                <c:formatCode>General</c:formatCode>
                <c:ptCount val="1"/>
                <c:pt idx="0">
                  <c:v>15672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AE6C4F-3264-41F2-B611-4BE783B0D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55B95A-5F63-41A6-9F7F-28810950C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91B414-6D82-45A4-B253-96A31020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CE5B7F-6EBC-4F29-8475-EA404D4D0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00D8EE-9591-43E6-B657-25BF79494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5F55A0-3F1F-4031-89CC-822D7969F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799F03-C440-46BF-B8FC-1151FF169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9EFBE0-8434-47B9-B7A4-A48A0E9C9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623300741167455</c:v>
                </c:pt>
                <c:pt idx="1">
                  <c:v>4.4198011235955059</c:v>
                </c:pt>
                <c:pt idx="2">
                  <c:v>10.80020063929609</c:v>
                </c:pt>
                <c:pt idx="3">
                  <c:v>6.1482067027829421</c:v>
                </c:pt>
                <c:pt idx="4">
                  <c:v>10.58463475324367</c:v>
                </c:pt>
                <c:pt idx="5">
                  <c:v>3.8854632466513048</c:v>
                </c:pt>
                <c:pt idx="6">
                  <c:v>12.38763493621197</c:v>
                </c:pt>
                <c:pt idx="7">
                  <c:v>14.97061152661681</c:v>
                </c:pt>
                <c:pt idx="8">
                  <c:v>10.972220095254141</c:v>
                </c:pt>
              </c:numCache>
            </c:numRef>
          </c:xVal>
          <c:yVal>
            <c:numRef>
              <c:f>Sheet1!$B$2:$B$10</c:f>
              <c:numCache>
                <c:formatCode>General</c:formatCode>
                <c:ptCount val="9"/>
                <c:pt idx="0">
                  <c:v>1.9168793866798881</c:v>
                </c:pt>
                <c:pt idx="1">
                  <c:v>0.73906435706295026</c:v>
                </c:pt>
                <c:pt idx="2">
                  <c:v>2.125068989225201</c:v>
                </c:pt>
                <c:pt idx="3">
                  <c:v>1.2212096569859441</c:v>
                </c:pt>
                <c:pt idx="4">
                  <c:v>1.8883910887271611</c:v>
                </c:pt>
                <c:pt idx="5">
                  <c:v>0.19956659325906079</c:v>
                </c:pt>
                <c:pt idx="6">
                  <c:v>2.9500388605926071</c:v>
                </c:pt>
                <c:pt idx="7">
                  <c:v>0.58842553950877119</c:v>
                </c:pt>
                <c:pt idx="8">
                  <c:v>2.1515339015276669</c:v>
                </c:pt>
              </c:numCache>
            </c:numRef>
          </c:yVal>
          <c:bubbleSize>
            <c:numRef>
              <c:f>Sheet1!$C$2:$C$10</c:f>
              <c:numCache>
                <c:formatCode>General</c:formatCode>
                <c:ptCount val="9"/>
                <c:pt idx="0">
                  <c:v>18785792</c:v>
                </c:pt>
                <c:pt idx="1">
                  <c:v>7867246</c:v>
                </c:pt>
                <c:pt idx="2">
                  <c:v>5027623</c:v>
                </c:pt>
                <c:pt idx="3">
                  <c:v>4903865</c:v>
                </c:pt>
                <c:pt idx="4">
                  <c:v>3573161</c:v>
                </c:pt>
                <c:pt idx="5">
                  <c:v>3068972</c:v>
                </c:pt>
                <c:pt idx="6">
                  <c:v>870987</c:v>
                </c:pt>
                <c:pt idx="7">
                  <c:v>850705</c:v>
                </c:pt>
                <c:pt idx="8">
                  <c:v>71647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Daisy</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3F8EB6-5E2E-4FCD-A183-64D543FB9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B4AFD8-8329-4636-9BD3-7DEB99461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E7FDD5-7038-4477-92B9-553B1352D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045443-2CAE-40E0-B159-BD05D54DB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325D38-FE58-48F9-8C6A-E0FDAE647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A1B2A9-AE3C-463A-86D9-B81472808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55BD90-FE91-4C45-89A0-71ED0FC20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C4323D-7801-4B0A-AE33-8C09C5565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7099254242647834</c:v>
                </c:pt>
                <c:pt idx="1">
                  <c:v>10.86085296827695</c:v>
                </c:pt>
                <c:pt idx="2">
                  <c:v>5.3971027175696582</c:v>
                </c:pt>
                <c:pt idx="3">
                  <c:v>5.1794539764756662</c:v>
                </c:pt>
                <c:pt idx="4">
                  <c:v>4.9571810785324244</c:v>
                </c:pt>
                <c:pt idx="5">
                  <c:v>5.9797090706939686</c:v>
                </c:pt>
                <c:pt idx="6">
                  <c:v>2.8702008906350591</c:v>
                </c:pt>
                <c:pt idx="7">
                  <c:v>9.3297600040548421</c:v>
                </c:pt>
                <c:pt idx="8">
                  <c:v>2.9618935865068918</c:v>
                </c:pt>
              </c:numCache>
            </c:numRef>
          </c:xVal>
          <c:yVal>
            <c:numRef>
              <c:f>Sheet1!$B$2:$B$10</c:f>
              <c:numCache>
                <c:formatCode>General</c:formatCode>
                <c:ptCount val="9"/>
                <c:pt idx="0">
                  <c:v>1.3837405339801401</c:v>
                </c:pt>
                <c:pt idx="1">
                  <c:v>1.593708368853137</c:v>
                </c:pt>
                <c:pt idx="2">
                  <c:v>0.84539572922480866</c:v>
                </c:pt>
                <c:pt idx="3">
                  <c:v>0.48688122703578879</c:v>
                </c:pt>
                <c:pt idx="4">
                  <c:v>0.77656218603086047</c:v>
                </c:pt>
                <c:pt idx="5">
                  <c:v>1.405209248220963</c:v>
                </c:pt>
                <c:pt idx="6">
                  <c:v>0.45899687106205428</c:v>
                </c:pt>
                <c:pt idx="7">
                  <c:v>1.461610334833253</c:v>
                </c:pt>
                <c:pt idx="8">
                  <c:v>0.69606415671689925</c:v>
                </c:pt>
              </c:numCache>
            </c:numRef>
          </c:yVal>
          <c:bubbleSize>
            <c:numRef>
              <c:f>Sheet1!$C$2:$C$10</c:f>
              <c:numCache>
                <c:formatCode>General</c:formatCode>
                <c:ptCount val="9"/>
                <c:pt idx="0">
                  <c:v>2644194</c:v>
                </c:pt>
                <c:pt idx="1">
                  <c:v>825099</c:v>
                </c:pt>
                <c:pt idx="2">
                  <c:v>690732</c:v>
                </c:pt>
                <c:pt idx="3">
                  <c:v>479980</c:v>
                </c:pt>
                <c:pt idx="4">
                  <c:v>452085</c:v>
                </c:pt>
                <c:pt idx="5">
                  <c:v>451773</c:v>
                </c:pt>
                <c:pt idx="6">
                  <c:v>432479</c:v>
                </c:pt>
                <c:pt idx="7">
                  <c:v>368143</c:v>
                </c:pt>
                <c:pt idx="8">
                  <c:v>249892</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Evribeauty</c:v>
                  </c:pt>
                  <c:pt idx="4">
                    <c:v>Clio</c:v>
                  </c:pt>
                  <c:pt idx="5">
                    <c:v>Revlon</c:v>
                  </c:pt>
                  <c:pt idx="6">
                    <c:v>Rem Pl</c:v>
                  </c:pt>
                  <c:pt idx="7">
                    <c:v>Intuition</c:v>
                  </c:pt>
                  <c:pt idx="8">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0F8924-6DD6-4891-8D84-4B32D4941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0BBC44-ED5E-4332-8AD1-DF901D863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F4F766-80CA-4FBD-BE00-044545DF0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F34995-4E4C-47F9-B286-B1937304B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454D86-3ED9-40DB-B87B-AE4230557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F21F7-0A8D-48D6-B36F-6CBDD77B3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DACD2B-E236-4C07-B55B-93520BE4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19BE29-9291-45ED-9328-659E36A9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364372346738829</c:v>
                </c:pt>
                <c:pt idx="1">
                  <c:v>6.7844686782118648</c:v>
                </c:pt>
                <c:pt idx="2">
                  <c:v>12.8142416774502</c:v>
                </c:pt>
                <c:pt idx="3">
                  <c:v>11.85900468135776</c:v>
                </c:pt>
                <c:pt idx="4">
                  <c:v>6.9868828371303442</c:v>
                </c:pt>
              </c:numCache>
            </c:numRef>
          </c:xVal>
          <c:yVal>
            <c:numRef>
              <c:f>Sheet1!$B$2:$B$6</c:f>
              <c:numCache>
                <c:formatCode>General</c:formatCode>
                <c:ptCount val="5"/>
                <c:pt idx="0">
                  <c:v>1.0917644532403961</c:v>
                </c:pt>
                <c:pt idx="1">
                  <c:v>0.66848495500255989</c:v>
                </c:pt>
                <c:pt idx="2">
                  <c:v>1.5746542963644241</c:v>
                </c:pt>
                <c:pt idx="3">
                  <c:v>1.548202561780424</c:v>
                </c:pt>
                <c:pt idx="4">
                  <c:v>0.58428994373328935</c:v>
                </c:pt>
              </c:numCache>
            </c:numRef>
          </c:yVal>
          <c:bubbleSize>
            <c:numRef>
              <c:f>Sheet1!$C$2:$C$6</c:f>
              <c:numCache>
                <c:formatCode>General</c:formatCode>
                <c:ptCount val="5"/>
                <c:pt idx="0">
                  <c:v>6828660</c:v>
                </c:pt>
                <c:pt idx="1">
                  <c:v>3597166</c:v>
                </c:pt>
                <c:pt idx="2">
                  <c:v>3109427</c:v>
                </c:pt>
                <c:pt idx="3">
                  <c:v>2181120</c:v>
                </c:pt>
                <c:pt idx="4">
                  <c:v>97954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789D9C-C8D5-47D1-BC25-B12A786D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55D07C7-3415-436B-AD89-65A71116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F504076-F667-48B0-BF56-FB7A0F44F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EFB8B5-C576-44A1-BB4A-D64E4012C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AA7DD8-EBDC-4568-8F85-4BAED305A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635504-CA32-481C-AB44-875E78CD3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4486C2-9798-4D6C-BA3A-048E70C0D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B666F9-8005-4D5A-8AD7-C140DE579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3331293533234</c:v>
                </c:pt>
              </c:numCache>
            </c:numRef>
          </c:xVal>
          <c:yVal>
            <c:numRef>
              <c:f>Sheet1!$B$2:$B$2</c:f>
              <c:numCache>
                <c:formatCode>General</c:formatCode>
                <c:ptCount val="1"/>
                <c:pt idx="0">
                  <c:v>1</c:v>
                </c:pt>
              </c:numCache>
            </c:numRef>
          </c:yVal>
          <c:bubbleSize>
            <c:numRef>
              <c:f>Sheet1!$C$2:$C$2</c:f>
              <c:numCache>
                <c:formatCode>General</c:formatCode>
                <c:ptCount val="1"/>
                <c:pt idx="0">
                  <c:v>151496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29747D-3F81-40E6-9229-B040BDC49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E7E9DB-EFBE-4C75-B8F8-4E6CD68C7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4F3522-2AD1-48AD-B786-F505A2129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64C764-E4EB-4221-8330-07E79B1CD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50FBC8-7359-4280-9A7F-803DF31D1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A2F8FA-7875-4994-B3FA-71D7819FB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DC135E-A07F-4DD1-9E07-C15926D75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D57B3F-AB7D-4F2C-86BE-B8920F9C5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030349670090031</c:v>
                </c:pt>
                <c:pt idx="1">
                  <c:v>4.6794584910984387</c:v>
                </c:pt>
                <c:pt idx="2">
                  <c:v>10.800455477809489</c:v>
                </c:pt>
                <c:pt idx="3">
                  <c:v>6.1843179854149888</c:v>
                </c:pt>
                <c:pt idx="4">
                  <c:v>10.542645437978109</c:v>
                </c:pt>
                <c:pt idx="5">
                  <c:v>3.8660025261785438</c:v>
                </c:pt>
                <c:pt idx="6">
                  <c:v>12.5135631504507</c:v>
                </c:pt>
                <c:pt idx="7">
                  <c:v>10.912191384472701</c:v>
                </c:pt>
                <c:pt idx="8">
                  <c:v>15.73458121280083</c:v>
                </c:pt>
              </c:numCache>
            </c:numRef>
          </c:xVal>
          <c:yVal>
            <c:numRef>
              <c:f>Sheet1!$B$2:$B$10</c:f>
              <c:numCache>
                <c:formatCode>General</c:formatCode>
                <c:ptCount val="9"/>
                <c:pt idx="0">
                  <c:v>1.86840225762955</c:v>
                </c:pt>
                <c:pt idx="1">
                  <c:v>0.73396864078297597</c:v>
                </c:pt>
                <c:pt idx="2">
                  <c:v>1.965528906130714</c:v>
                </c:pt>
                <c:pt idx="3">
                  <c:v>1.121801678069591</c:v>
                </c:pt>
                <c:pt idx="4">
                  <c:v>1.7327367288967119</c:v>
                </c:pt>
                <c:pt idx="5">
                  <c:v>0.18605032226381779</c:v>
                </c:pt>
                <c:pt idx="6">
                  <c:v>2.7709088770682531</c:v>
                </c:pt>
                <c:pt idx="7">
                  <c:v>1.9957763643172379</c:v>
                </c:pt>
                <c:pt idx="8">
                  <c:v>2.2258788231498619</c:v>
                </c:pt>
              </c:numCache>
            </c:numRef>
          </c:yVal>
          <c:bubbleSize>
            <c:numRef>
              <c:f>Sheet1!$C$2:$C$10</c:f>
              <c:numCache>
                <c:formatCode>General</c:formatCode>
                <c:ptCount val="9"/>
                <c:pt idx="0">
                  <c:v>18618977</c:v>
                </c:pt>
                <c:pt idx="1">
                  <c:v>8557176</c:v>
                </c:pt>
                <c:pt idx="2">
                  <c:v>6350171</c:v>
                </c:pt>
                <c:pt idx="3">
                  <c:v>4844838</c:v>
                </c:pt>
                <c:pt idx="4">
                  <c:v>4830482</c:v>
                </c:pt>
                <c:pt idx="5">
                  <c:v>2846499</c:v>
                </c:pt>
                <c:pt idx="6">
                  <c:v>1185560</c:v>
                </c:pt>
                <c:pt idx="7">
                  <c:v>1082413</c:v>
                </c:pt>
                <c:pt idx="8">
                  <c:v>72964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C348A5-9076-461B-BBEA-DFB3DE955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7F9E1-900F-4913-8E04-04311660D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97DD49-D5B6-4EDD-BFB7-4873918A4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5AA67A-FD9B-42D6-A5E6-07001B129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A34830-E734-450D-83F1-A200D13EA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DB1BD7-4153-45E9-93A5-388835408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DC9D97-FE2D-4DF7-BF60-1E20CBAC7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ED6AFE-73A7-48F2-B7D2-C5C47E3F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0131768476878</c:v>
                </c:pt>
                <c:pt idx="1">
                  <c:v>18.695583151326051</c:v>
                </c:pt>
                <c:pt idx="2">
                  <c:v>12.20244507138583</c:v>
                </c:pt>
                <c:pt idx="3">
                  <c:v>12.763552934662821</c:v>
                </c:pt>
                <c:pt idx="4">
                  <c:v>14.95973151927438</c:v>
                </c:pt>
                <c:pt idx="5">
                  <c:v>13.68058042023933</c:v>
                </c:pt>
              </c:numCache>
            </c:numRef>
          </c:xVal>
          <c:yVal>
            <c:numRef>
              <c:f>Sheet1!$B$2:$B$7</c:f>
              <c:numCache>
                <c:formatCode>General</c:formatCode>
                <c:ptCount val="6"/>
                <c:pt idx="0">
                  <c:v>1.184738430133855</c:v>
                </c:pt>
                <c:pt idx="1">
                  <c:v>1.0804896891888169</c:v>
                </c:pt>
                <c:pt idx="2">
                  <c:v>0.75832648452482376</c:v>
                </c:pt>
                <c:pt idx="3">
                  <c:v>0.70790019041830532</c:v>
                </c:pt>
                <c:pt idx="4">
                  <c:v>1.083443648395239</c:v>
                </c:pt>
                <c:pt idx="5">
                  <c:v>0.48655937493107759</c:v>
                </c:pt>
              </c:numCache>
            </c:numRef>
          </c:yVal>
          <c:bubbleSize>
            <c:numRef>
              <c:f>Sheet1!$C$2:$C$7</c:f>
              <c:numCache>
                <c:formatCode>General</c:formatCode>
                <c:ptCount val="6"/>
                <c:pt idx="0">
                  <c:v>28422643</c:v>
                </c:pt>
                <c:pt idx="1">
                  <c:v>7489918</c:v>
                </c:pt>
                <c:pt idx="2">
                  <c:v>4995620</c:v>
                </c:pt>
                <c:pt idx="3">
                  <c:v>4887241</c:v>
                </c:pt>
                <c:pt idx="4">
                  <c:v>4123276</c:v>
                </c:pt>
                <c:pt idx="5">
                  <c:v>145192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C35A34-2AD3-428C-9BDF-C54BCDCC5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E46579-90D1-4F7D-A4E6-244D5A364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F5EDDB-5014-4E80-BA7D-6D4E9A789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50A3D3-5501-49D5-8066-A8E4DD070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9B7CA7-9744-46EC-8940-C3CB0D222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F42379-EC3B-4752-AE7D-9B3F63607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7A6A0D-8E80-4B1F-8C80-89689BEF7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77A2D5-1AD0-4DFA-8EDA-C00D1EFA7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218177771229193</c:v>
                </c:pt>
                <c:pt idx="1">
                  <c:v>10.50210595840055</c:v>
                </c:pt>
                <c:pt idx="2">
                  <c:v>5.3768166427466664</c:v>
                </c:pt>
                <c:pt idx="3">
                  <c:v>5.9794096643656269</c:v>
                </c:pt>
                <c:pt idx="4">
                  <c:v>4.9513873048603569</c:v>
                </c:pt>
                <c:pt idx="5">
                  <c:v>5.1517211883272838</c:v>
                </c:pt>
                <c:pt idx="6">
                  <c:v>2.8544645987489159</c:v>
                </c:pt>
                <c:pt idx="7">
                  <c:v>8.9908344565616964</c:v>
                </c:pt>
                <c:pt idx="8">
                  <c:v>10.93569563882064</c:v>
                </c:pt>
              </c:numCache>
            </c:numRef>
          </c:xVal>
          <c:yVal>
            <c:numRef>
              <c:f>Sheet1!$B$2:$B$10</c:f>
              <c:numCache>
                <c:formatCode>General</c:formatCode>
                <c:ptCount val="9"/>
                <c:pt idx="0">
                  <c:v>1.3441434413228881</c:v>
                </c:pt>
                <c:pt idx="1">
                  <c:v>1.5798043481404549</c:v>
                </c:pt>
                <c:pt idx="2">
                  <c:v>0.84770580958247743</c:v>
                </c:pt>
                <c:pt idx="3">
                  <c:v>1.414272439850581</c:v>
                </c:pt>
                <c:pt idx="4">
                  <c:v>0.78065538431062909</c:v>
                </c:pt>
                <c:pt idx="5">
                  <c:v>0.48737783650653022</c:v>
                </c:pt>
                <c:pt idx="6">
                  <c:v>0.45870358285955609</c:v>
                </c:pt>
                <c:pt idx="7">
                  <c:v>1.4176156277849099</c:v>
                </c:pt>
                <c:pt idx="8">
                  <c:v>1.7241488694918841</c:v>
                </c:pt>
              </c:numCache>
            </c:numRef>
          </c:yVal>
          <c:bubbleSize>
            <c:numRef>
              <c:f>Sheet1!$C$2:$C$10</c:f>
              <c:numCache>
                <c:formatCode>General</c:formatCode>
                <c:ptCount val="9"/>
                <c:pt idx="0">
                  <c:v>2718315</c:v>
                </c:pt>
                <c:pt idx="1">
                  <c:v>969943</c:v>
                </c:pt>
                <c:pt idx="2">
                  <c:v>771756</c:v>
                </c:pt>
                <c:pt idx="3">
                  <c:v>552629</c:v>
                </c:pt>
                <c:pt idx="4">
                  <c:v>542677</c:v>
                </c:pt>
                <c:pt idx="5">
                  <c:v>469770</c:v>
                </c:pt>
                <c:pt idx="6">
                  <c:v>464076</c:v>
                </c:pt>
                <c:pt idx="7">
                  <c:v>366871</c:v>
                </c:pt>
                <c:pt idx="8">
                  <c:v>284853</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Clio</c:v>
                  </c:pt>
                  <c:pt idx="5">
                    <c:v>Evribeauty</c:v>
                  </c:pt>
                  <c:pt idx="6">
                    <c:v>Rem Pl</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D28758-A9C9-4C1F-9317-08CA2C908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49C39B-E3D7-4A83-A040-92F5B7D1D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A1994A-24D0-4230-8C59-7876A4F6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A484D4-D06B-451B-9E86-00EC60434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ADDD76-370D-433F-BB2C-AD3B951E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EAE79E-E13A-4D46-A22C-5CBBC04A4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1B5AD5-E8D6-4E03-82A4-09873ED74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466E85-A1BD-4F13-8801-A767F721F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855105161691229</c:v>
                </c:pt>
                <c:pt idx="1">
                  <c:v>6.7857853057118458</c:v>
                </c:pt>
                <c:pt idx="2">
                  <c:v>12.99224250562532</c:v>
                </c:pt>
                <c:pt idx="3">
                  <c:v>11.96920434574213</c:v>
                </c:pt>
                <c:pt idx="4">
                  <c:v>7.0046809832283259</c:v>
                </c:pt>
              </c:numCache>
            </c:numRef>
          </c:xVal>
          <c:yVal>
            <c:numRef>
              <c:f>Sheet1!$B$2:$B$6</c:f>
              <c:numCache>
                <c:formatCode>General</c:formatCode>
                <c:ptCount val="5"/>
                <c:pt idx="0">
                  <c:v>1.1408309435060371</c:v>
                </c:pt>
                <c:pt idx="1">
                  <c:v>0.64921147810247593</c:v>
                </c:pt>
                <c:pt idx="2">
                  <c:v>1.5422794102008019</c:v>
                </c:pt>
                <c:pt idx="3">
                  <c:v>1.503286585610393</c:v>
                </c:pt>
                <c:pt idx="4">
                  <c:v>0.56516847938250958</c:v>
                </c:pt>
              </c:numCache>
            </c:numRef>
          </c:yVal>
          <c:bubbleSize>
            <c:numRef>
              <c:f>Sheet1!$C$2:$C$6</c:f>
              <c:numCache>
                <c:formatCode>General</c:formatCode>
                <c:ptCount val="5"/>
                <c:pt idx="0">
                  <c:v>6480856</c:v>
                </c:pt>
                <c:pt idx="1">
                  <c:v>3480660</c:v>
                </c:pt>
                <c:pt idx="2">
                  <c:v>2863906</c:v>
                </c:pt>
                <c:pt idx="3">
                  <c:v>2397288</c:v>
                </c:pt>
                <c:pt idx="4">
                  <c:v>94722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F2DB0C-CA1C-4A46-8E0D-CC0BD20A3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A2A7FEC-E64A-4798-8C6B-1B1760F13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379C03-B3CE-4C5F-9E0E-D4F2DD58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D97DFFC-DCB4-4F93-B7C3-8F92A1199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618FBE-B13C-4609-801C-41AD52AFD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23206D-7C46-413D-880D-022A858FB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FE0C20-3A51-4B6B-AA8C-34EE0A92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513001-1E8D-4440-AE25-E7DE506B8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53921568627451</c:v>
                </c:pt>
              </c:numCache>
            </c:numRef>
          </c:xVal>
          <c:yVal>
            <c:numRef>
              <c:f>Sheet1!$B$2:$B$2</c:f>
              <c:numCache>
                <c:formatCode>General</c:formatCode>
                <c:ptCount val="1"/>
                <c:pt idx="0">
                  <c:v>1</c:v>
                </c:pt>
              </c:numCache>
            </c:numRef>
          </c:yVal>
          <c:bubbleSize>
            <c:numRef>
              <c:f>Sheet1!$C$2:$C$2</c:f>
              <c:numCache>
                <c:formatCode>General</c:formatCode>
                <c:ptCount val="1"/>
                <c:pt idx="0">
                  <c:v>1038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657BD4-9CBC-4E7A-BA5C-72D5F25D7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793692-4D63-4996-99D4-3FEFCCF28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DB6828-C651-4006-B212-EE3F3B44D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2D1C54-BAC1-4D4D-BCC4-6B706565D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4B20F7-FBD1-4526-BBF1-518F97E78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FEFC9D-1F18-4805-89D1-3C29161C3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4502E7-8299-4A5D-A5B0-228F6B91A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B96FE9-C0E4-4005-A889-D8FD51C6D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9982079406766573</c:v>
                </c:pt>
                <c:pt idx="1">
                  <c:v>4.0839354243938004</c:v>
                </c:pt>
                <c:pt idx="2">
                  <c:v>4.7786335179930637</c:v>
                </c:pt>
                <c:pt idx="3">
                  <c:v>6.1015224422181902</c:v>
                </c:pt>
                <c:pt idx="4">
                  <c:v>6.6239811628328198</c:v>
                </c:pt>
                <c:pt idx="5">
                  <c:v>15.335526315789471</c:v>
                </c:pt>
              </c:numCache>
            </c:numRef>
          </c:xVal>
          <c:yVal>
            <c:numRef>
              <c:f>Sheet1!$B$2:$B$7</c:f>
              <c:numCache>
                <c:formatCode>General</c:formatCode>
                <c:ptCount val="6"/>
                <c:pt idx="0">
                  <c:v>1.4425061132331329</c:v>
                </c:pt>
                <c:pt idx="1">
                  <c:v>0.9001423115016105</c:v>
                </c:pt>
                <c:pt idx="2">
                  <c:v>0.30450143600592522</c:v>
                </c:pt>
                <c:pt idx="3">
                  <c:v>1.696564412015777</c:v>
                </c:pt>
                <c:pt idx="4">
                  <c:v>0.81155104365922026</c:v>
                </c:pt>
                <c:pt idx="5">
                  <c:v>2.7156552691262079</c:v>
                </c:pt>
              </c:numCache>
            </c:numRef>
          </c:yVal>
          <c:bubbleSize>
            <c:numRef>
              <c:f>Sheet1!$C$2:$C$7</c:f>
              <c:numCache>
                <c:formatCode>General</c:formatCode>
                <c:ptCount val="6"/>
                <c:pt idx="0">
                  <c:v>1132485</c:v>
                </c:pt>
                <c:pt idx="1">
                  <c:v>380974</c:v>
                </c:pt>
                <c:pt idx="2">
                  <c:v>106100</c:v>
                </c:pt>
                <c:pt idx="3">
                  <c:v>77349</c:v>
                </c:pt>
                <c:pt idx="4">
                  <c:v>73142</c:v>
                </c:pt>
                <c:pt idx="5">
                  <c:v>20979</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ilky Touch</c:v>
                  </c:pt>
                  <c:pt idx="3">
                    <c:v>Bic Soleil</c:v>
                  </c:pt>
                  <c:pt idx="4">
                    <c:v>Skintimate</c:v>
                  </c:pt>
                  <c:pt idx="5">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71818B-F914-48E9-84D8-0BF05A71C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41B3C9-853B-4485-9E38-AD502DCA4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8A5BE-398B-452B-B42E-6F6B6E956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8A9B56-2A17-4431-ABB3-B40310003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69612B-103C-4B03-BB39-D635E6718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35C41A-9B06-416C-8F0F-C2DF82B0D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41D131-B902-4C4E-B328-6EEF3CFF1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B6FB13-E839-4ABD-9899-99B224FD9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181232276359889</c:v>
                </c:pt>
                <c:pt idx="1">
                  <c:v>17.254310344827591</c:v>
                </c:pt>
                <c:pt idx="2">
                  <c:v>2.9817794604827261</c:v>
                </c:pt>
                <c:pt idx="3">
                  <c:v>6.1286516853932582</c:v>
                </c:pt>
                <c:pt idx="4">
                  <c:v>3.146279144043437</c:v>
                </c:pt>
              </c:numCache>
            </c:numRef>
          </c:xVal>
          <c:yVal>
            <c:numRef>
              <c:f>Sheet1!$B$2:$B$6</c:f>
              <c:numCache>
                <c:formatCode>General</c:formatCode>
                <c:ptCount val="5"/>
                <c:pt idx="0">
                  <c:v>2.8443911024305502</c:v>
                </c:pt>
                <c:pt idx="1">
                  <c:v>17.17164809677114</c:v>
                </c:pt>
                <c:pt idx="2">
                  <c:v>1.4830452828200471</c:v>
                </c:pt>
                <c:pt idx="3">
                  <c:v>2.0270233335239851</c:v>
                </c:pt>
                <c:pt idx="4">
                  <c:v>1.043624191934287</c:v>
                </c:pt>
              </c:numCache>
            </c:numRef>
          </c:yVal>
          <c:bubbleSize>
            <c:numRef>
              <c:f>Sheet1!$C$2:$C$6</c:f>
              <c:numCache>
                <c:formatCode>General</c:formatCode>
                <c:ptCount val="5"/>
                <c:pt idx="0">
                  <c:v>78986</c:v>
                </c:pt>
                <c:pt idx="1">
                  <c:v>16012</c:v>
                </c:pt>
                <c:pt idx="2">
                  <c:v>12601</c:v>
                </c:pt>
                <c:pt idx="3">
                  <c:v>10909</c:v>
                </c:pt>
                <c:pt idx="4">
                  <c:v>98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Universal Prods Mktg</c:v>
                  </c:pt>
                  <c:pt idx="3">
                    <c:v>Universal Razor</c:v>
                  </c:pt>
                  <c:pt idx="4">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5E788B-5ED6-44DF-A56B-651C31B75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66C215-1357-4E15-A465-1F605258E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DCBBF1-68A5-4086-B66E-D7AC62EE4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FA2CAA-F0BD-428C-81CF-167C092C2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7A8CD7-D9BD-45E2-8434-9F4A5AC84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1705C4-8AC6-42BB-A286-F1B2C221A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C653E7-4763-468A-A60A-0FE6F0C62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312094-AAB5-44A9-BFCF-16AD61EB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274962029588794</c:v>
                </c:pt>
                <c:pt idx="1">
                  <c:v>5.8039746300211412</c:v>
                </c:pt>
                <c:pt idx="2">
                  <c:v>11.235672693840019</c:v>
                </c:pt>
                <c:pt idx="3">
                  <c:v>6.4949627682873414</c:v>
                </c:pt>
                <c:pt idx="4">
                  <c:v>14.270111567821489</c:v>
                </c:pt>
              </c:numCache>
            </c:numRef>
          </c:xVal>
          <c:yVal>
            <c:numRef>
              <c:f>Sheet1!$B$2:$B$6</c:f>
              <c:numCache>
                <c:formatCode>General</c:formatCode>
                <c:ptCount val="5"/>
                <c:pt idx="0">
                  <c:v>0.99475204796200301</c:v>
                </c:pt>
                <c:pt idx="1">
                  <c:v>0.76417510117675558</c:v>
                </c:pt>
                <c:pt idx="2">
                  <c:v>1.977167220591914</c:v>
                </c:pt>
                <c:pt idx="3">
                  <c:v>0.78185889996645297</c:v>
                </c:pt>
                <c:pt idx="4">
                  <c:v>2.284213066015254</c:v>
                </c:pt>
              </c:numCache>
            </c:numRef>
          </c:yVal>
          <c:bubbleSize>
            <c:numRef>
              <c:f>Sheet1!$C$2:$C$6</c:f>
              <c:numCache>
                <c:formatCode>General</c:formatCode>
                <c:ptCount val="5"/>
                <c:pt idx="0">
                  <c:v>441312</c:v>
                </c:pt>
                <c:pt idx="1">
                  <c:v>68632</c:v>
                </c:pt>
                <c:pt idx="2">
                  <c:v>36662</c:v>
                </c:pt>
                <c:pt idx="3">
                  <c:v>29656</c:v>
                </c:pt>
                <c:pt idx="4">
                  <c:v>2430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Hydro Silk</c:v>
                  </c:pt>
                  <c:pt idx="3">
                    <c:v>Skintimate</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F86AE5-B358-449C-A7EC-AB992963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93D8DDA-3127-4155-AE3E-F2CF78043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DF1207-32D0-4FBB-9D07-0FAED99B8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E2409E-1385-4FEB-80BA-FB121AE7A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D09D54B-A2E0-42DF-A843-27731F6B6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85CB4D-02E6-4BAA-BA23-7BADD917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65FCA0-4C54-418B-8B81-BD1F3983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91EBF7-3482-44B9-84C2-39BC1BCA6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312139995615169</c:v>
                </c:pt>
              </c:numCache>
            </c:numRef>
          </c:xVal>
          <c:yVal>
            <c:numRef>
              <c:f>Sheet1!$B$2:$B$2</c:f>
              <c:numCache>
                <c:formatCode>General</c:formatCode>
                <c:ptCount val="1"/>
                <c:pt idx="0">
                  <c:v>1</c:v>
                </c:pt>
              </c:numCache>
            </c:numRef>
          </c:yVal>
          <c:bubbleSize>
            <c:numRef>
              <c:f>Sheet1!$C$2:$C$2</c:f>
              <c:numCache>
                <c:formatCode>General</c:formatCode>
                <c:ptCount val="1"/>
                <c:pt idx="0">
                  <c:v>133582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0C0082-C198-43DD-A150-6FC5B7B67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33F51D-4037-4FA9-BD82-BFDD88C83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A7C6D9-0326-45C8-91CF-CB1295C78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3FC5BC-9F1D-488E-A204-1031F99A4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07A5D3-060F-4584-977C-4DD54E4C4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7E6895-B57F-4CC8-9590-D9CB85D56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E42557-7929-4E40-9A6F-50A9CD39D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831A86-16BD-4552-895C-A06E67187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5168882749353934</c:v>
                </c:pt>
                <c:pt idx="1">
                  <c:v>4.2737122716812959</c:v>
                </c:pt>
                <c:pt idx="2">
                  <c:v>10.692847277157369</c:v>
                </c:pt>
                <c:pt idx="3">
                  <c:v>5.9868263898762972</c:v>
                </c:pt>
                <c:pt idx="4">
                  <c:v>10.353334216197339</c:v>
                </c:pt>
                <c:pt idx="5">
                  <c:v>3.7688599974816208</c:v>
                </c:pt>
                <c:pt idx="6">
                  <c:v>12.044804040781971</c:v>
                </c:pt>
                <c:pt idx="7">
                  <c:v>10.81698312823654</c:v>
                </c:pt>
                <c:pt idx="8">
                  <c:v>14.97172425032594</c:v>
                </c:pt>
              </c:numCache>
            </c:numRef>
          </c:xVal>
          <c:yVal>
            <c:numRef>
              <c:f>Sheet1!$B$2:$B$10</c:f>
              <c:numCache>
                <c:formatCode>General</c:formatCode>
                <c:ptCount val="9"/>
                <c:pt idx="0">
                  <c:v>1.883742339192187</c:v>
                </c:pt>
                <c:pt idx="1">
                  <c:v>0.71571359486034181</c:v>
                </c:pt>
                <c:pt idx="2">
                  <c:v>2.1150579305016382</c:v>
                </c:pt>
                <c:pt idx="3">
                  <c:v>1.201950169930007</c:v>
                </c:pt>
                <c:pt idx="4">
                  <c:v>1.8771224899959551</c:v>
                </c:pt>
                <c:pt idx="5">
                  <c:v>0.19852991714015311</c:v>
                </c:pt>
                <c:pt idx="6">
                  <c:v>2.928900112324718</c:v>
                </c:pt>
                <c:pt idx="7">
                  <c:v>2.1875783794068728</c:v>
                </c:pt>
                <c:pt idx="8">
                  <c:v>0.58218962858243106</c:v>
                </c:pt>
              </c:numCache>
            </c:numRef>
          </c:yVal>
          <c:bubbleSize>
            <c:numRef>
              <c:f>Sheet1!$C$2:$C$10</c:f>
              <c:numCache>
                <c:formatCode>General</c:formatCode>
                <c:ptCount val="9"/>
                <c:pt idx="0">
                  <c:v>18924989</c:v>
                </c:pt>
                <c:pt idx="1">
                  <c:v>8684303</c:v>
                </c:pt>
                <c:pt idx="2">
                  <c:v>5906932</c:v>
                </c:pt>
                <c:pt idx="3">
                  <c:v>5052642</c:v>
                </c:pt>
                <c:pt idx="4">
                  <c:v>4299895</c:v>
                </c:pt>
                <c:pt idx="5">
                  <c:v>3112807</c:v>
                </c:pt>
                <c:pt idx="6">
                  <c:v>1030168</c:v>
                </c:pt>
                <c:pt idx="7">
                  <c:v>971311</c:v>
                </c:pt>
                <c:pt idx="8">
                  <c:v>73493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FA3E03-F204-4D72-885F-BF72CB00F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EFDB31-A173-4E5B-9819-DDD3C835F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0A4E14-239B-4A5F-9F2C-CA82D0C7C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965B7-243D-4E7C-BE81-F67059599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075283-FAB0-43CD-B3F7-2A597A160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B97AC2-5F6C-4C32-937A-8791A2128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BFE54-F48F-46E2-8D3A-20E397976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760804-ADCA-46E9-9818-3D2982ED0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281373272282757</c:v>
                </c:pt>
                <c:pt idx="1">
                  <c:v>10.4416592774481</c:v>
                </c:pt>
                <c:pt idx="2">
                  <c:v>5.3827990869048001</c:v>
                </c:pt>
                <c:pt idx="3">
                  <c:v>5.9793434615225403</c:v>
                </c:pt>
                <c:pt idx="4">
                  <c:v>2.8369671029250432</c:v>
                </c:pt>
                <c:pt idx="5">
                  <c:v>5.0999122122512679</c:v>
                </c:pt>
                <c:pt idx="6">
                  <c:v>4.9631068715637321</c:v>
                </c:pt>
                <c:pt idx="7">
                  <c:v>9.0206475100767136</c:v>
                </c:pt>
                <c:pt idx="8">
                  <c:v>10.91861686483761</c:v>
                </c:pt>
              </c:numCache>
            </c:numRef>
          </c:xVal>
          <c:yVal>
            <c:numRef>
              <c:f>Sheet1!$B$2:$B$10</c:f>
              <c:numCache>
                <c:formatCode>General</c:formatCode>
                <c:ptCount val="9"/>
                <c:pt idx="0">
                  <c:v>1.381847987114543</c:v>
                </c:pt>
                <c:pt idx="1">
                  <c:v>1.5919684153022431</c:v>
                </c:pt>
                <c:pt idx="2">
                  <c:v>0.86929051570261873</c:v>
                </c:pt>
                <c:pt idx="3">
                  <c:v>1.4486538453442499</c:v>
                </c:pt>
                <c:pt idx="4">
                  <c:v>0.46611262755385607</c:v>
                </c:pt>
                <c:pt idx="5">
                  <c:v>0.49421876624981559</c:v>
                </c:pt>
                <c:pt idx="6">
                  <c:v>0.80154860593146471</c:v>
                </c:pt>
                <c:pt idx="7">
                  <c:v>1.4568917762165829</c:v>
                </c:pt>
                <c:pt idx="8">
                  <c:v>1.763117791091531</c:v>
                </c:pt>
              </c:numCache>
            </c:numRef>
          </c:yVal>
          <c:bubbleSize>
            <c:numRef>
              <c:f>Sheet1!$C$2:$C$10</c:f>
              <c:numCache>
                <c:formatCode>General</c:formatCode>
                <c:ptCount val="9"/>
                <c:pt idx="0">
                  <c:v>2797519</c:v>
                </c:pt>
                <c:pt idx="1">
                  <c:v>918511</c:v>
                </c:pt>
                <c:pt idx="2">
                  <c:v>837106</c:v>
                </c:pt>
                <c:pt idx="3">
                  <c:v>577772</c:v>
                </c:pt>
                <c:pt idx="4">
                  <c:v>550800</c:v>
                </c:pt>
                <c:pt idx="5">
                  <c:v>522843</c:v>
                </c:pt>
                <c:pt idx="6">
                  <c:v>510932</c:v>
                </c:pt>
                <c:pt idx="7">
                  <c:v>346889</c:v>
                </c:pt>
                <c:pt idx="8">
                  <c:v>259874</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Rem Pl</c:v>
                  </c:pt>
                  <c:pt idx="5">
                    <c:v>Evribeauty</c:v>
                  </c:pt>
                  <c:pt idx="6">
                    <c:v>Clio</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BBD5F8-5215-40AD-A59B-5AC34F1CD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BC1A6-9EF8-4427-9551-0B6BB987A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800CEB-68FC-48A9-9EFA-9C11B6B43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D3DE12-0C03-48F0-95AB-A659DD0D6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6D90C6-6CF1-492E-9770-B86C4AD10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959F09-699E-4FC3-8F4A-A3C0C9828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AFD0F9-71FA-49A0-BD20-41C44F681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39B29F-9396-4E0C-88E8-C8845E42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075786776261589</c:v>
                </c:pt>
                <c:pt idx="1">
                  <c:v>6.6620387210761134</c:v>
                </c:pt>
                <c:pt idx="2">
                  <c:v>12.53419638713363</c:v>
                </c:pt>
                <c:pt idx="3">
                  <c:v>11.729363079125051</c:v>
                </c:pt>
                <c:pt idx="4">
                  <c:v>6.8992925627303414</c:v>
                </c:pt>
              </c:numCache>
            </c:numRef>
          </c:xVal>
          <c:yVal>
            <c:numRef>
              <c:f>Sheet1!$B$2:$B$6</c:f>
              <c:numCache>
                <c:formatCode>General</c:formatCode>
                <c:ptCount val="5"/>
                <c:pt idx="0">
                  <c:v>1.082990972654875</c:v>
                </c:pt>
                <c:pt idx="1">
                  <c:v>0.68136681325555526</c:v>
                </c:pt>
                <c:pt idx="2">
                  <c:v>1.5823160806826939</c:v>
                </c:pt>
                <c:pt idx="3">
                  <c:v>1.572909625348704</c:v>
                </c:pt>
                <c:pt idx="4">
                  <c:v>0.58730285864279375</c:v>
                </c:pt>
              </c:numCache>
            </c:numRef>
          </c:yVal>
          <c:bubbleSize>
            <c:numRef>
              <c:f>Sheet1!$C$2:$C$6</c:f>
              <c:numCache>
                <c:formatCode>General</c:formatCode>
                <c:ptCount val="5"/>
                <c:pt idx="0">
                  <c:v>6629243</c:v>
                </c:pt>
                <c:pt idx="1">
                  <c:v>3589693</c:v>
                </c:pt>
                <c:pt idx="2">
                  <c:v>2808763</c:v>
                </c:pt>
                <c:pt idx="3">
                  <c:v>2261820</c:v>
                </c:pt>
                <c:pt idx="4">
                  <c:v>97720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C58C3E-091F-4981-808C-DD9BB1FB4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F45CB9-EAFF-4F12-98FB-4F56D368C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030862-910D-44EF-927E-C0D8F16D3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534403-621A-4322-A527-C78583184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151BC7-1664-4B3B-84F9-675B7C3B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71F93A-917C-4958-9EC2-A63A3FAE0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A77D0F-EB66-4A90-8450-B3D372F42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CB4FCA-4545-4887-8015-A4CD6D618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955416915508826</c:v>
                </c:pt>
                <c:pt idx="1">
                  <c:v>6.3603472435831714</c:v>
                </c:pt>
                <c:pt idx="2">
                  <c:v>3.8949005473797942</c:v>
                </c:pt>
                <c:pt idx="3">
                  <c:v>3.8910312432622818</c:v>
                </c:pt>
                <c:pt idx="4">
                  <c:v>6.8003131636730139</c:v>
                </c:pt>
                <c:pt idx="5">
                  <c:v>15.06487647690655</c:v>
                </c:pt>
                <c:pt idx="6">
                  <c:v>11.45381269933314</c:v>
                </c:pt>
              </c:numCache>
            </c:numRef>
          </c:xVal>
          <c:yVal>
            <c:numRef>
              <c:f>Sheet1!$B$2:$B$8</c:f>
              <c:numCache>
                <c:formatCode>General</c:formatCode>
                <c:ptCount val="7"/>
                <c:pt idx="0">
                  <c:v>1.702994563125561</c:v>
                </c:pt>
                <c:pt idx="1">
                  <c:v>1.688569177688199</c:v>
                </c:pt>
                <c:pt idx="2">
                  <c:v>0.89007211662475194</c:v>
                </c:pt>
                <c:pt idx="3">
                  <c:v>0.27809183228157153</c:v>
                </c:pt>
                <c:pt idx="4">
                  <c:v>1.383216397726065</c:v>
                </c:pt>
                <c:pt idx="5">
                  <c:v>0.81553415536353235</c:v>
                </c:pt>
                <c:pt idx="6">
                  <c:v>3.267834059247182</c:v>
                </c:pt>
              </c:numCache>
            </c:numRef>
          </c:yVal>
          <c:bubbleSize>
            <c:numRef>
              <c:f>Sheet1!$C$2:$C$8</c:f>
              <c:numCache>
                <c:formatCode>General</c:formatCode>
                <c:ptCount val="7"/>
                <c:pt idx="0">
                  <c:v>9394215</c:v>
                </c:pt>
                <c:pt idx="1">
                  <c:v>5582922</c:v>
                </c:pt>
                <c:pt idx="2">
                  <c:v>4614425</c:v>
                </c:pt>
                <c:pt idx="3">
                  <c:v>2364140</c:v>
                </c:pt>
                <c:pt idx="4">
                  <c:v>755678</c:v>
                </c:pt>
                <c:pt idx="5">
                  <c:v>701270</c:v>
                </c:pt>
                <c:pt idx="6">
                  <c:v>39504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029C64-B85B-474B-9ECD-D3E2AD500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86C605E-131F-4876-911E-DE168D874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7C68A48-BA1A-474C-BA7D-BA0565E0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F7A222-C5B4-4E63-A52B-478401DEF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2280B5-FB01-4C15-9518-CDEA446C2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E25DA9-4415-4220-8DAE-759B30D47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CA2A81-5658-4457-B67F-84CE4650A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246DF4-36E9-40DE-9591-99447090D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379991313553569</c:v>
                </c:pt>
              </c:numCache>
            </c:numRef>
          </c:xVal>
          <c:yVal>
            <c:numRef>
              <c:f>Sheet1!$B$2:$B$2</c:f>
              <c:numCache>
                <c:formatCode>General</c:formatCode>
                <c:ptCount val="1"/>
                <c:pt idx="0">
                  <c:v>1</c:v>
                </c:pt>
              </c:numCache>
            </c:numRef>
          </c:yVal>
          <c:bubbleSize>
            <c:numRef>
              <c:f>Sheet1!$C$2:$C$2</c:f>
              <c:numCache>
                <c:formatCode>General</c:formatCode>
                <c:ptCount val="1"/>
                <c:pt idx="0">
                  <c:v>98581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721EE8-A424-4718-99D2-BD200A723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CB3D1A-BD8D-4E24-BD7D-53E7D3056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7853BD-D1CA-4C57-93A6-223BE8E63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0241A2-C945-48CC-B335-647C50415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43A98E-8E21-4AAD-B9C0-396F70C31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D00630-00BA-4818-99AE-670EFF257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F05CEE-350B-49D8-9539-27FB007DB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D7A27E-4395-442C-8B0F-6344E7AFF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430929073183707</c:v>
                </c:pt>
                <c:pt idx="1">
                  <c:v>4.2209687338203343</c:v>
                </c:pt>
                <c:pt idx="2">
                  <c:v>5.92935161888387</c:v>
                </c:pt>
                <c:pt idx="3">
                  <c:v>10.684905724171349</c:v>
                </c:pt>
                <c:pt idx="4">
                  <c:v>10.4084069261383</c:v>
                </c:pt>
                <c:pt idx="5">
                  <c:v>3.7614736891586151</c:v>
                </c:pt>
                <c:pt idx="6">
                  <c:v>10.811830455696789</c:v>
                </c:pt>
                <c:pt idx="7">
                  <c:v>11.91137760412953</c:v>
                </c:pt>
                <c:pt idx="8">
                  <c:v>14.970950494104169</c:v>
                </c:pt>
              </c:numCache>
            </c:numRef>
          </c:xVal>
          <c:yVal>
            <c:numRef>
              <c:f>Sheet1!$B$2:$B$10</c:f>
              <c:numCache>
                <c:formatCode>General</c:formatCode>
                <c:ptCount val="9"/>
                <c:pt idx="0">
                  <c:v>1.935571221468692</c:v>
                </c:pt>
                <c:pt idx="1">
                  <c:v>0.73527310396150591</c:v>
                </c:pt>
                <c:pt idx="2">
                  <c:v>1.2313267948300339</c:v>
                </c:pt>
                <c:pt idx="3">
                  <c:v>2.2015810620256322</c:v>
                </c:pt>
                <c:pt idx="4">
                  <c:v>1.945297516999607</c:v>
                </c:pt>
                <c:pt idx="5">
                  <c:v>0.2067965533146128</c:v>
                </c:pt>
                <c:pt idx="6">
                  <c:v>2.2717130031664232</c:v>
                </c:pt>
                <c:pt idx="7">
                  <c:v>3.0178418424592972</c:v>
                </c:pt>
                <c:pt idx="8">
                  <c:v>0.60573404909274631</c:v>
                </c:pt>
              </c:numCache>
            </c:numRef>
          </c:yVal>
          <c:bubbleSize>
            <c:numRef>
              <c:f>Sheet1!$C$2:$C$10</c:f>
              <c:numCache>
                <c:formatCode>General</c:formatCode>
                <c:ptCount val="9"/>
                <c:pt idx="0">
                  <c:v>16380609</c:v>
                </c:pt>
                <c:pt idx="1">
                  <c:v>7467721</c:v>
                </c:pt>
                <c:pt idx="2">
                  <c:v>4800409</c:v>
                </c:pt>
                <c:pt idx="3">
                  <c:v>4740305</c:v>
                </c:pt>
                <c:pt idx="4">
                  <c:v>3690207</c:v>
                </c:pt>
                <c:pt idx="5">
                  <c:v>3040749</c:v>
                </c:pt>
                <c:pt idx="6">
                  <c:v>930531</c:v>
                </c:pt>
                <c:pt idx="7">
                  <c:v>835333</c:v>
                </c:pt>
                <c:pt idx="8">
                  <c:v>627193</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Joy</c:v>
                  </c:pt>
                  <c:pt idx="5">
                    <c:v>Bic Silky Touch</c:v>
                  </c:pt>
                  <c:pt idx="6">
                    <c:v>Flamingo</c:v>
                  </c:pt>
                  <c:pt idx="7">
                    <c:v>Intuition</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A0DA79-FFB5-437F-9F23-F53137D8D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AFCB9A-C9FB-4F2D-B8F2-33BB1E3F3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A2C1D4-B800-4766-AD33-C1D329B40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33C085-9DEB-40EA-8C26-E5593981C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6C5435-0EFF-4D26-892F-19720DFB1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F1203F-C614-4A39-A231-1563E4B85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ABA20E-E0CF-4AFC-B609-56815760E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4641C1-AA95-4F73-B4EA-E70C9BBC4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3819937319400424</c:v>
                </c:pt>
                <c:pt idx="1">
                  <c:v>5.405395246474078</c:v>
                </c:pt>
                <c:pt idx="2">
                  <c:v>10.023064693366999</c:v>
                </c:pt>
                <c:pt idx="3">
                  <c:v>4.9614990990990986</c:v>
                </c:pt>
                <c:pt idx="4">
                  <c:v>5.9800729344933563</c:v>
                </c:pt>
                <c:pt idx="5">
                  <c:v>2.834974574024534</c:v>
                </c:pt>
                <c:pt idx="6">
                  <c:v>5.1150593699338387</c:v>
                </c:pt>
                <c:pt idx="7">
                  <c:v>10.93456703653187</c:v>
                </c:pt>
                <c:pt idx="8">
                  <c:v>8.373040270519521</c:v>
                </c:pt>
              </c:numCache>
            </c:numRef>
          </c:xVal>
          <c:yVal>
            <c:numRef>
              <c:f>Sheet1!$B$2:$B$10</c:f>
              <c:numCache>
                <c:formatCode>General</c:formatCode>
                <c:ptCount val="9"/>
                <c:pt idx="0">
                  <c:v>1.3837712400334841</c:v>
                </c:pt>
                <c:pt idx="1">
                  <c:v>0.90112103364641738</c:v>
                </c:pt>
                <c:pt idx="2">
                  <c:v>1.573187878051393</c:v>
                </c:pt>
                <c:pt idx="3">
                  <c:v>0.82711950696258318</c:v>
                </c:pt>
                <c:pt idx="4">
                  <c:v>1.495509603628068</c:v>
                </c:pt>
                <c:pt idx="5">
                  <c:v>0.48070266046572407</c:v>
                </c:pt>
                <c:pt idx="6">
                  <c:v>0.51165851847822108</c:v>
                </c:pt>
                <c:pt idx="7">
                  <c:v>1.822788852533419</c:v>
                </c:pt>
                <c:pt idx="8">
                  <c:v>1.395897385414987</c:v>
                </c:pt>
              </c:numCache>
            </c:numRef>
          </c:yVal>
          <c:bubbleSize>
            <c:numRef>
              <c:f>Sheet1!$C$2:$C$10</c:f>
              <c:numCache>
                <c:formatCode>General</c:formatCode>
                <c:ptCount val="9"/>
                <c:pt idx="0">
                  <c:v>2880447</c:v>
                </c:pt>
                <c:pt idx="1">
                  <c:v>992263</c:v>
                </c:pt>
                <c:pt idx="2">
                  <c:v>857393</c:v>
                </c:pt>
                <c:pt idx="3">
                  <c:v>688408</c:v>
                </c:pt>
                <c:pt idx="4">
                  <c:v>667418</c:v>
                </c:pt>
                <c:pt idx="5">
                  <c:v>588158</c:v>
                </c:pt>
                <c:pt idx="6">
                  <c:v>583705</c:v>
                </c:pt>
                <c:pt idx="7">
                  <c:v>296622</c:v>
                </c:pt>
                <c:pt idx="8">
                  <c:v>272375</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Clio</c:v>
                  </c:pt>
                  <c:pt idx="4">
                    <c:v>Revlon</c:v>
                  </c:pt>
                  <c:pt idx="5">
                    <c:v>Rem Pl</c:v>
                  </c:pt>
                  <c:pt idx="6">
                    <c:v>Evribeauty</c:v>
                  </c:pt>
                  <c:pt idx="7">
                    <c:v>Japonesque</c:v>
                  </c:pt>
                  <c:pt idx="8">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849CB6-3EE1-4874-B751-4798012C2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973F78-0D55-452C-A575-E96E5F913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B178B8-0944-4EC3-810C-2E9FDD0FE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1C8DB8-C807-4CE8-BFBE-18D227626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2915FC-E943-450C-8A26-3BBFE1E08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9457B8-3D84-447B-ADED-976E0B079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74B4E6-AF7F-4A9B-9750-F598A1B3C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DAABFC-D077-44C8-B29E-20E0BCE12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098070756270481</c:v>
                </c:pt>
                <c:pt idx="1">
                  <c:v>6.6263818651344328</c:v>
                </c:pt>
                <c:pt idx="2">
                  <c:v>12.540107078136341</c:v>
                </c:pt>
                <c:pt idx="3">
                  <c:v>11.825232556076619</c:v>
                </c:pt>
                <c:pt idx="4">
                  <c:v>6.8089700863922253</c:v>
                </c:pt>
              </c:numCache>
            </c:numRef>
          </c:xVal>
          <c:yVal>
            <c:numRef>
              <c:f>Sheet1!$B$2:$B$6</c:f>
              <c:numCache>
                <c:formatCode>General</c:formatCode>
                <c:ptCount val="5"/>
                <c:pt idx="0">
                  <c:v>1.1002592401137259</c:v>
                </c:pt>
                <c:pt idx="1">
                  <c:v>0.68417654287885954</c:v>
                </c:pt>
                <c:pt idx="2">
                  <c:v>1.611311099731402</c:v>
                </c:pt>
                <c:pt idx="3">
                  <c:v>1.5969202767864721</c:v>
                </c:pt>
                <c:pt idx="4">
                  <c:v>0.59564213366049279</c:v>
                </c:pt>
              </c:numCache>
            </c:numRef>
          </c:yVal>
          <c:bubbleSize>
            <c:numRef>
              <c:f>Sheet1!$C$2:$C$6</c:f>
              <c:numCache>
                <c:formatCode>General</c:formatCode>
                <c:ptCount val="5"/>
                <c:pt idx="0">
                  <c:v>5825678</c:v>
                </c:pt>
                <c:pt idx="1">
                  <c:v>3261366</c:v>
                </c:pt>
                <c:pt idx="2">
                  <c:v>2124407</c:v>
                </c:pt>
                <c:pt idx="3">
                  <c:v>1999635</c:v>
                </c:pt>
                <c:pt idx="4">
                  <c:v>85198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025B78-35B5-41DF-9575-5049F4B66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27AD6FF-C09B-4B4E-9B21-3F31CD8CB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9257D6-1E04-4C12-AEE8-4CED89B62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128F27F-15CE-4C98-B4FF-CC0F0D49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FAE3E1-6B29-42E3-8ABC-EC665A49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3FA367-D079-45A9-9611-413618414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C313A3-8FD5-4D60-807B-70744D73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58D619-AB2A-4D2E-866F-BA5CADE70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77569300667127</c:v>
                </c:pt>
              </c:numCache>
            </c:numRef>
          </c:xVal>
          <c:yVal>
            <c:numRef>
              <c:f>Sheet1!$B$2:$B$2</c:f>
              <c:numCache>
                <c:formatCode>General</c:formatCode>
                <c:ptCount val="1"/>
                <c:pt idx="0">
                  <c:v>1</c:v>
                </c:pt>
              </c:numCache>
            </c:numRef>
          </c:yVal>
          <c:bubbleSize>
            <c:numRef>
              <c:f>Sheet1!$C$2:$C$2</c:f>
              <c:numCache>
                <c:formatCode>General</c:formatCode>
                <c:ptCount val="1"/>
                <c:pt idx="0">
                  <c:v>958127</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81DBD3-B9E2-459D-9671-9D9E161B8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27C6F8-1A62-4EE4-B102-D27DA8982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E8F89D-E2F9-466F-96F8-0ABCDE0C0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31A131-44A7-412B-A889-0399EBF8B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7DDB6F-E9BE-4AD8-BAB1-50C4C62A1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618733-7FCC-4E3E-AB83-0239E61C2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43E693-2C1A-4ED5-AC64-FD388572F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9358F3-818E-4FC3-9EA6-CC0100399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434983979533097</c:v>
                </c:pt>
                <c:pt idx="1">
                  <c:v>4.5283870976600742</c:v>
                </c:pt>
                <c:pt idx="2">
                  <c:v>10.920943035514551</c:v>
                </c:pt>
                <c:pt idx="3">
                  <c:v>6.1497698566655083</c:v>
                </c:pt>
                <c:pt idx="4">
                  <c:v>10.734252575622641</c:v>
                </c:pt>
                <c:pt idx="5">
                  <c:v>3.889636223931451</c:v>
                </c:pt>
                <c:pt idx="6">
                  <c:v>11.140023177281281</c:v>
                </c:pt>
                <c:pt idx="7">
                  <c:v>12.33165782513881</c:v>
                </c:pt>
                <c:pt idx="8">
                  <c:v>15.038000979911811</c:v>
                </c:pt>
              </c:numCache>
            </c:numRef>
          </c:xVal>
          <c:yVal>
            <c:numRef>
              <c:f>Sheet1!$B$2:$B$10</c:f>
              <c:numCache>
                <c:formatCode>General</c:formatCode>
                <c:ptCount val="9"/>
                <c:pt idx="0">
                  <c:v>1.9028305831730039</c:v>
                </c:pt>
                <c:pt idx="1">
                  <c:v>0.74321287573971573</c:v>
                </c:pt>
                <c:pt idx="2">
                  <c:v>2.0407467856499522</c:v>
                </c:pt>
                <c:pt idx="3">
                  <c:v>1.153300700676041</c:v>
                </c:pt>
                <c:pt idx="4">
                  <c:v>1.8172697262172099</c:v>
                </c:pt>
                <c:pt idx="5">
                  <c:v>0.19407426872436101</c:v>
                </c:pt>
                <c:pt idx="6">
                  <c:v>2.089410816646347</c:v>
                </c:pt>
                <c:pt idx="7">
                  <c:v>2.8116048867896888</c:v>
                </c:pt>
                <c:pt idx="8">
                  <c:v>0.57285923975893815</c:v>
                </c:pt>
              </c:numCache>
            </c:numRef>
          </c:yVal>
          <c:bubbleSize>
            <c:numRef>
              <c:f>Sheet1!$C$2:$C$10</c:f>
              <c:numCache>
                <c:formatCode>General</c:formatCode>
                <c:ptCount val="9"/>
                <c:pt idx="0">
                  <c:v>16433002</c:v>
                </c:pt>
                <c:pt idx="1">
                  <c:v>6595786</c:v>
                </c:pt>
                <c:pt idx="2">
                  <c:v>4130115</c:v>
                </c:pt>
                <c:pt idx="3">
                  <c:v>4124460</c:v>
                </c:pt>
                <c:pt idx="4">
                  <c:v>3097594</c:v>
                </c:pt>
                <c:pt idx="5">
                  <c:v>2505762</c:v>
                </c:pt>
                <c:pt idx="6">
                  <c:v>893998</c:v>
                </c:pt>
                <c:pt idx="7">
                  <c:v>797328</c:v>
                </c:pt>
                <c:pt idx="8">
                  <c:v>76731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Flamingo</c:v>
                  </c:pt>
                  <c:pt idx="7">
                    <c:v>Intuition</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AFEC3E-B76A-4B29-9FD9-0B2ED9065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42A9F9-6B85-4D73-B9A2-9BD86C4AD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C68745-4387-414F-B825-E454951CE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9C1208-1692-498A-A6CF-C44F7A0B7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F51AC4-8F9A-4514-8DB8-A9A2425A7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14A9D7-0E71-4D04-B857-A1D0DAB9D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0558D-854F-4505-A5E3-E1EBE7FFA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839D26-607F-4616-8675-400B0410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6079584429422926</c:v>
                </c:pt>
                <c:pt idx="1">
                  <c:v>5.4013524447280314</c:v>
                </c:pt>
                <c:pt idx="2">
                  <c:v>10.34957685332747</c:v>
                </c:pt>
                <c:pt idx="3">
                  <c:v>5.9794569067296344</c:v>
                </c:pt>
                <c:pt idx="4">
                  <c:v>5.1650047316953493</c:v>
                </c:pt>
                <c:pt idx="5">
                  <c:v>4.9601000086214331</c:v>
                </c:pt>
                <c:pt idx="6">
                  <c:v>2.8730478199446519</c:v>
                </c:pt>
                <c:pt idx="7">
                  <c:v>10.934217037822551</c:v>
                </c:pt>
                <c:pt idx="8">
                  <c:v>2.9475315691584818</c:v>
                </c:pt>
              </c:numCache>
            </c:numRef>
          </c:xVal>
          <c:yVal>
            <c:numRef>
              <c:f>Sheet1!$B$2:$B$10</c:f>
              <c:numCache>
                <c:formatCode>General</c:formatCode>
                <c:ptCount val="9"/>
                <c:pt idx="0">
                  <c:v>1.405277790422863</c:v>
                </c:pt>
                <c:pt idx="1">
                  <c:v>0.87904898156806621</c:v>
                </c:pt>
                <c:pt idx="2">
                  <c:v>1.589314634097458</c:v>
                </c:pt>
                <c:pt idx="3">
                  <c:v>1.459854643097297</c:v>
                </c:pt>
                <c:pt idx="4">
                  <c:v>0.50439995535163618</c:v>
                </c:pt>
                <c:pt idx="5">
                  <c:v>0.80730514304221845</c:v>
                </c:pt>
                <c:pt idx="6">
                  <c:v>0.4774777055650109</c:v>
                </c:pt>
                <c:pt idx="7">
                  <c:v>1.7795625681228491</c:v>
                </c:pt>
                <c:pt idx="8">
                  <c:v>0.71962589375425612</c:v>
                </c:pt>
              </c:numCache>
            </c:numRef>
          </c:yVal>
          <c:bubbleSize>
            <c:numRef>
              <c:f>Sheet1!$C$2:$C$10</c:f>
              <c:numCache>
                <c:formatCode>General</c:formatCode>
                <c:ptCount val="9"/>
                <c:pt idx="0">
                  <c:v>2585056</c:v>
                </c:pt>
                <c:pt idx="1">
                  <c:v>821119</c:v>
                </c:pt>
                <c:pt idx="2">
                  <c:v>753325</c:v>
                </c:pt>
                <c:pt idx="3">
                  <c:v>607752</c:v>
                </c:pt>
                <c:pt idx="4">
                  <c:v>589451</c:v>
                </c:pt>
                <c:pt idx="5">
                  <c:v>575322</c:v>
                </c:pt>
                <c:pt idx="6">
                  <c:v>445377</c:v>
                </c:pt>
                <c:pt idx="7">
                  <c:v>309329</c:v>
                </c:pt>
                <c:pt idx="8">
                  <c:v>270999</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Revlon</c:v>
                  </c:pt>
                  <c:pt idx="4">
                    <c:v>Evribeauty</c:v>
                  </c:pt>
                  <c:pt idx="5">
                    <c:v>Clio</c:v>
                  </c:pt>
                  <c:pt idx="6">
                    <c:v>Rem Pl</c:v>
                  </c:pt>
                  <c:pt idx="7">
                    <c:v>Japonesque</c:v>
                  </c:pt>
                  <c:pt idx="8">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617F5E-6EDC-48AB-834E-1D369A69C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0A6067-2142-4618-BFEF-DBED7FD0A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F4D961-DBEB-49D3-807B-349AEEACE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4764BE-C233-4B63-B057-BB4A683D1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2CCEAB-72CF-4C9C-BFA7-E80262BBE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26C881-ACDF-461E-A237-2FC26E18A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6241BF-A7B5-472C-9F86-087259F16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E66AF9-A7BC-4C01-A1D6-8864463C7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762814620587619</c:v>
                </c:pt>
                <c:pt idx="1">
                  <c:v>6.7981042395104891</c:v>
                </c:pt>
                <c:pt idx="2">
                  <c:v>13.012032607790781</c:v>
                </c:pt>
                <c:pt idx="3">
                  <c:v>12.15362688708592</c:v>
                </c:pt>
                <c:pt idx="4">
                  <c:v>6.9855053446518154</c:v>
                </c:pt>
              </c:numCache>
            </c:numRef>
          </c:xVal>
          <c:yVal>
            <c:numRef>
              <c:f>Sheet1!$B$2:$B$6</c:f>
              <c:numCache>
                <c:formatCode>General</c:formatCode>
                <c:ptCount val="5"/>
                <c:pt idx="0">
                  <c:v>1.129541070731668</c:v>
                </c:pt>
                <c:pt idx="1">
                  <c:v>0.65710137290562143</c:v>
                </c:pt>
                <c:pt idx="2">
                  <c:v>1.563285810301827</c:v>
                </c:pt>
                <c:pt idx="3">
                  <c:v>1.5263975704421699</c:v>
                </c:pt>
                <c:pt idx="4">
                  <c:v>0.57667649324966042</c:v>
                </c:pt>
              </c:numCache>
            </c:numRef>
          </c:yVal>
          <c:bubbleSize>
            <c:numRef>
              <c:f>Sheet1!$C$2:$C$6</c:f>
              <c:numCache>
                <c:formatCode>General</c:formatCode>
                <c:ptCount val="5"/>
                <c:pt idx="0">
                  <c:v>5877939</c:v>
                </c:pt>
                <c:pt idx="1">
                  <c:v>2986380</c:v>
                </c:pt>
                <c:pt idx="2">
                  <c:v>2031946</c:v>
                </c:pt>
                <c:pt idx="3">
                  <c:v>1914415</c:v>
                </c:pt>
                <c:pt idx="4">
                  <c:v>69206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B$2:$B$10</c:f>
              <c:numCache>
                <c:formatCode>General</c:formatCode>
                <c:ptCount val="9"/>
                <c:pt idx="7">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C$2:$C$10</c:f>
              <c:numCache>
                <c:formatCode>General</c:formatCode>
                <c:ptCount val="9"/>
                <c:pt idx="0">
                  <c:v>22.8183811450666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D$2:$D$10</c:f>
              <c:numCache>
                <c:formatCode>General</c:formatCode>
                <c:ptCount val="9"/>
                <c:pt idx="0">
                  <c:v>11.1585905636103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E$2:$E$10</c:f>
              <c:numCache>
                <c:formatCode>General</c:formatCode>
                <c:ptCount val="9"/>
                <c:pt idx="0">
                  <c:v>11.16549890153977</c:v>
                </c:pt>
                <c:pt idx="1">
                  <c:v>6.8952925986148488</c:v>
                </c:pt>
                <c:pt idx="2">
                  <c:v>10.227326278269619</c:v>
                </c:pt>
                <c:pt idx="5">
                  <c:v>10.466074577007637</c:v>
                </c:pt>
                <c:pt idx="6">
                  <c:v>10.08634739587557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F$2:$F$10</c:f>
              <c:numCache>
                <c:formatCode>General</c:formatCode>
                <c:ptCount val="9"/>
                <c:pt idx="0">
                  <c:v>6.8571112354990884</c:v>
                </c:pt>
                <c:pt idx="1">
                  <c:v>5.0957025992364899</c:v>
                </c:pt>
                <c:pt idx="2">
                  <c:v>12.333523760243146</c:v>
                </c:pt>
                <c:pt idx="3">
                  <c:v>8.0487300558998935</c:v>
                </c:pt>
                <c:pt idx="4">
                  <c:v>4.82657404656321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G$2:$G$10</c:f>
              <c:numCache>
                <c:formatCode>General</c:formatCode>
                <c:ptCount val="9"/>
                <c:pt idx="0">
                  <c:v>11.83790552691047</c:v>
                </c:pt>
                <c:pt idx="1">
                  <c:v>6.165292249361376</c:v>
                </c:pt>
                <c:pt idx="3">
                  <c:v>15.661002643210946</c:v>
                </c:pt>
                <c:pt idx="4">
                  <c:v>4.5533081439812539</c:v>
                </c:pt>
                <c:pt idx="5">
                  <c:v>10.202412367563268</c:v>
                </c:pt>
                <c:pt idx="6">
                  <c:v>10.174510074735663</c:v>
                </c:pt>
                <c:pt idx="8">
                  <c:v>9.64615321719523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H$2:$H$10</c:f>
              <c:numCache>
                <c:formatCode>General</c:formatCode>
                <c:ptCount val="9"/>
                <c:pt idx="0">
                  <c:v>20.77528613264241</c:v>
                </c:pt>
                <c:pt idx="2">
                  <c:v>21.986624829214065</c:v>
                </c:pt>
                <c:pt idx="3">
                  <c:v>15.58203934321368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B$2:$B$9</c:f>
              <c:numCache>
                <c:formatCode>General</c:formatCode>
                <c:ptCount val="8"/>
                <c:pt idx="3">
                  <c:v>11.823068396348962</c:v>
                </c:pt>
                <c:pt idx="5">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C$2:$C$9</c:f>
              <c:numCache>
                <c:formatCode>General</c:formatCode>
                <c:ptCount val="8"/>
                <c:pt idx="1">
                  <c:v>28.276356082172811</c:v>
                </c:pt>
                <c:pt idx="6">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D$2:$D$9</c:f>
              <c:numCache>
                <c:formatCode>General</c:formatCode>
                <c:ptCount val="8"/>
                <c:pt idx="3">
                  <c:v>15.146744740105035</c:v>
                </c:pt>
                <c:pt idx="4">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E$2:$E$9</c:f>
              <c:numCache>
                <c:formatCode>General</c:formatCode>
                <c:ptCount val="8"/>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F$2:$F$9</c:f>
              <c:numCache>
                <c:formatCode>General</c:formatCode>
                <c:ptCount val="8"/>
                <c:pt idx="0">
                  <c:v>10.432977714510683</c:v>
                </c:pt>
                <c:pt idx="1">
                  <c:v>8.90107604665882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G$2:$G$9</c:f>
              <c:numCache>
                <c:formatCode>General</c:formatCode>
                <c:ptCount val="8"/>
                <c:pt idx="0">
                  <c:v>8.0850220346116703</c:v>
                </c:pt>
                <c:pt idx="1">
                  <c:v>10.2651849215661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H$2:$H$9</c:f>
              <c:numCache>
                <c:formatCode>General</c:formatCode>
                <c:ptCount val="8"/>
                <c:pt idx="0">
                  <c:v>13.626778309840349</c:v>
                </c:pt>
                <c:pt idx="2">
                  <c:v>16.227252812730011</c:v>
                </c:pt>
                <c:pt idx="3">
                  <c:v>5.8852166427773236</c:v>
                </c:pt>
                <c:pt idx="5">
                  <c:v>14.54677989681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I$2:$I$9</c:f>
              <c:numCache>
                <c:formatCode>General</c:formatCode>
                <c:ptCount val="8"/>
                <c:pt idx="2">
                  <c:v>15.977025338235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J$2:$J$9</c:f>
              <c:numCache>
                <c:formatCode>General</c:formatCode>
                <c:ptCount val="8"/>
                <c:pt idx="0">
                  <c:v>21.373996322036731</c:v>
                </c:pt>
                <c:pt idx="1">
                  <c:v>16.36813276807106</c:v>
                </c:pt>
                <c:pt idx="2">
                  <c:v>16.554031364984102</c:v>
                </c:pt>
                <c:pt idx="4">
                  <c:v>10.356920746749894</c:v>
                </c:pt>
                <c:pt idx="5">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K$2:$K$9</c:f>
              <c:numCache>
                <c:formatCode>General</c:formatCode>
                <c:ptCount val="8"/>
                <c:pt idx="0">
                  <c:v>19.781389071589036</c:v>
                </c:pt>
                <c:pt idx="1">
                  <c:v>22.957207396806691</c:v>
                </c:pt>
                <c:pt idx="7">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9F2C06-2422-41FB-B00E-36ECA8D5B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829EBE-DF0F-492D-999D-1E88CE32D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318724-2F4C-46EB-A1D8-CE4A8D0BA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314F71-F708-4FB5-9986-D8B98A435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351976-F335-4B4E-A202-91255C07C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01AB8F-482B-4384-8775-476366BF7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2561EA-C29F-4473-9DDE-5C112905F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5E9BB4-ED6F-4056-AB3D-88D38993E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553185212403431</c:v>
                </c:pt>
                <c:pt idx="1">
                  <c:v>12.56508378173783</c:v>
                </c:pt>
                <c:pt idx="2">
                  <c:v>10.766147962150219</c:v>
                </c:pt>
                <c:pt idx="3">
                  <c:v>12.906200871335839</c:v>
                </c:pt>
                <c:pt idx="4">
                  <c:v>10.60268512454552</c:v>
                </c:pt>
                <c:pt idx="5">
                  <c:v>7.1432727704548151</c:v>
                </c:pt>
                <c:pt idx="6">
                  <c:v>11.02617712051674</c:v>
                </c:pt>
                <c:pt idx="7">
                  <c:v>8.4288355555555547</c:v>
                </c:pt>
              </c:numCache>
            </c:numRef>
          </c:xVal>
          <c:yVal>
            <c:numRef>
              <c:f>Sheet1!$B$2:$B$9</c:f>
              <c:numCache>
                <c:formatCode>General</c:formatCode>
                <c:ptCount val="8"/>
                <c:pt idx="0">
                  <c:v>1.306667164319701</c:v>
                </c:pt>
                <c:pt idx="1">
                  <c:v>1.110780391976379</c:v>
                </c:pt>
                <c:pt idx="2">
                  <c:v>0.84054676212219281</c:v>
                </c:pt>
                <c:pt idx="3">
                  <c:v>1.335430525727666</c:v>
                </c:pt>
                <c:pt idx="4">
                  <c:v>0.74869658707095565</c:v>
                </c:pt>
                <c:pt idx="5">
                  <c:v>0.51845615947091628</c:v>
                </c:pt>
                <c:pt idx="6">
                  <c:v>0.83341890650186468</c:v>
                </c:pt>
                <c:pt idx="7">
                  <c:v>0.29644680529955347</c:v>
                </c:pt>
              </c:numCache>
            </c:numRef>
          </c:yVal>
          <c:bubbleSize>
            <c:numRef>
              <c:f>Sheet1!$C$2:$C$9</c:f>
              <c:numCache>
                <c:formatCode>General</c:formatCode>
                <c:ptCount val="8"/>
                <c:pt idx="0">
                  <c:v>8238107</c:v>
                </c:pt>
                <c:pt idx="1">
                  <c:v>3070718</c:v>
                </c:pt>
                <c:pt idx="2">
                  <c:v>2499695</c:v>
                </c:pt>
                <c:pt idx="3">
                  <c:v>2224758</c:v>
                </c:pt>
                <c:pt idx="4">
                  <c:v>1877990</c:v>
                </c:pt>
                <c:pt idx="5">
                  <c:v>962456</c:v>
                </c:pt>
                <c:pt idx="6">
                  <c:v>389202</c:v>
                </c:pt>
                <c:pt idx="7">
                  <c:v>23706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2.77432298525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24768786186953</c:v>
                </c:pt>
                <c:pt idx="1">
                  <c:v>13.946127992985923</c:v>
                </c:pt>
                <c:pt idx="2">
                  <c:v>12.145933759326383</c:v>
                </c:pt>
                <c:pt idx="3">
                  <c:v>12.377212734432877</c:v>
                </c:pt>
                <c:pt idx="4">
                  <c:v>11.537165123005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1912132460333851</c:v>
                </c:pt>
                <c:pt idx="1">
                  <c:v>16.532702340736002</c:v>
                </c:pt>
                <c:pt idx="2">
                  <c:v>10.3981735329478</c:v>
                </c:pt>
                <c:pt idx="7">
                  <c:v>5.9697466478138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3.798961075341829</c:v>
                </c:pt>
                <c:pt idx="2">
                  <c:v>19.498712572647687</c:v>
                </c:pt>
                <c:pt idx="3">
                  <c:v>10.851963768709204</c:v>
                </c:pt>
                <c:pt idx="4">
                  <c:v>12.001885592593688</c:v>
                </c:pt>
                <c:pt idx="5">
                  <c:v>8.09071383949888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7.97992031179505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251004176309419</c:v>
                </c:pt>
                <c:pt idx="1">
                  <c:v>28.415660496424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7.7209087221095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8964213574609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787397325978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347014135077989</c:v>
                </c:pt>
                <c:pt idx="1">
                  <c:v>6.8743777065182803</c:v>
                </c:pt>
                <c:pt idx="3">
                  <c:v>9.9504224673469732</c:v>
                </c:pt>
                <c:pt idx="4">
                  <c:v>9.9189749301666783</c:v>
                </c:pt>
                <c:pt idx="5">
                  <c:v>10.17877306763623</c:v>
                </c:pt>
                <c:pt idx="6">
                  <c:v>9.28337673031557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52138076253047</c:v>
                </c:pt>
                <c:pt idx="1">
                  <c:v>4.6635387617747597</c:v>
                </c:pt>
                <c:pt idx="2">
                  <c:v>4.7610323979006566</c:v>
                </c:pt>
                <c:pt idx="3">
                  <c:v>7.2014527717850108</c:v>
                </c:pt>
                <c:pt idx="5">
                  <c:v>11.6325109913863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336338821493291</c:v>
                </c:pt>
                <c:pt idx="1">
                  <c:v>6.23951404567108</c:v>
                </c:pt>
                <c:pt idx="2">
                  <c:v>4.7596152816305546</c:v>
                </c:pt>
                <c:pt idx="3">
                  <c:v>14.532611257646332</c:v>
                </c:pt>
                <c:pt idx="4">
                  <c:v>9.9711573332034629</c:v>
                </c:pt>
                <c:pt idx="6">
                  <c:v>9.72240827811534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056940000659697</c:v>
                </c:pt>
                <c:pt idx="2">
                  <c:v>8.4201935324529007</c:v>
                </c:pt>
                <c:pt idx="5">
                  <c:v>23.0581226039516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7287276984521567</c:v>
                </c:pt>
                <c:pt idx="1">
                  <c:v>9.268518139633851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B$2:$B$8</c:f>
              <c:numCache>
                <c:formatCode>General</c:formatCode>
                <c:ptCount val="7"/>
                <c:pt idx="4">
                  <c:v>9.8490460969965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C$2:$C$8</c:f>
              <c:numCache>
                <c:formatCode>General</c:formatCode>
                <c:ptCount val="7"/>
                <c:pt idx="2">
                  <c:v>19.11877650994683</c:v>
                </c:pt>
                <c:pt idx="5">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D$2:$D$8</c:f>
              <c:numCache>
                <c:formatCode>General</c:formatCode>
                <c:ptCount val="7"/>
                <c:pt idx="0">
                  <c:v>10.805185059382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E$2:$E$8</c:f>
              <c:numCache>
                <c:formatCode>General</c:formatCode>
                <c:ptCount val="7"/>
                <c:pt idx="0">
                  <c:v>9.6888838156531065</c:v>
                </c:pt>
                <c:pt idx="4">
                  <c:v>9.92895307893874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F$2:$F$8</c:f>
              <c:numCache>
                <c:formatCode>General</c:formatCode>
                <c:ptCount val="7"/>
                <c:pt idx="0">
                  <c:v>8.08390003559452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G$2:$G$8</c:f>
              <c:numCache>
                <c:formatCode>General</c:formatCode>
                <c:ptCount val="7"/>
                <c:pt idx="0">
                  <c:v>13.081154944763545</c:v>
                </c:pt>
                <c:pt idx="1">
                  <c:v>16.3968668281105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H$2:$H$8</c:f>
              <c:numCache>
                <c:formatCode>General</c:formatCode>
                <c:ptCount val="7"/>
                <c:pt idx="1">
                  <c:v>15.96043861731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I$2:$I$8</c:f>
              <c:numCache>
                <c:formatCode>General</c:formatCode>
                <c:ptCount val="7"/>
                <c:pt idx="0">
                  <c:v>21.242275393561521</c:v>
                </c:pt>
                <c:pt idx="1">
                  <c:v>16.603794493589866</c:v>
                </c:pt>
                <c:pt idx="2">
                  <c:v>10.364196847876865</c:v>
                </c:pt>
                <c:pt idx="3">
                  <c:v>17.084450402144771</c:v>
                </c:pt>
                <c:pt idx="6">
                  <c:v>14.82107059937061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J$2:$J$8</c:f>
              <c:numCache>
                <c:formatCode>General</c:formatCode>
                <c:ptCount val="7"/>
                <c:pt idx="0">
                  <c:v>19.669781417443183</c:v>
                </c:pt>
                <c:pt idx="3">
                  <c:v>23.09295049218994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2.77432298525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24768786186953</c:v>
                </c:pt>
                <c:pt idx="1">
                  <c:v>13.946127992985923</c:v>
                </c:pt>
                <c:pt idx="2">
                  <c:v>12.145933759326383</c:v>
                </c:pt>
                <c:pt idx="3">
                  <c:v>12.377212734432877</c:v>
                </c:pt>
                <c:pt idx="4">
                  <c:v>11.537165123005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1912132460333851</c:v>
                </c:pt>
                <c:pt idx="1">
                  <c:v>16.532702340736002</c:v>
                </c:pt>
                <c:pt idx="2">
                  <c:v>10.3981735329478</c:v>
                </c:pt>
                <c:pt idx="7">
                  <c:v>5.9697466478138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3.798961075341829</c:v>
                </c:pt>
                <c:pt idx="2">
                  <c:v>19.498712572647687</c:v>
                </c:pt>
                <c:pt idx="3">
                  <c:v>10.851963768709204</c:v>
                </c:pt>
                <c:pt idx="4">
                  <c:v>12.001885592593688</c:v>
                </c:pt>
                <c:pt idx="5">
                  <c:v>8.09071383949888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7.97992031179505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251004176309419</c:v>
                </c:pt>
                <c:pt idx="1">
                  <c:v>28.415660496424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7.7209087221095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B$2:$B$10</c:f>
              <c:numCache>
                <c:formatCode>General</c:formatCode>
                <c:ptCount val="9"/>
                <c:pt idx="6">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C$2:$C$10</c:f>
              <c:numCache>
                <c:formatCode>General</c:formatCode>
                <c:ptCount val="9"/>
                <c:pt idx="6">
                  <c:v>5.01241153235801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D$2:$D$10</c:f>
              <c:numCache>
                <c:formatCode>General</c:formatCode>
                <c:ptCount val="9"/>
                <c:pt idx="3">
                  <c:v>15.0611306643202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E$2:$E$10</c:f>
              <c:numCache>
                <c:formatCode>General</c:formatCode>
                <c:ptCount val="9"/>
                <c:pt idx="0">
                  <c:v>10.112592687394514</c:v>
                </c:pt>
                <c:pt idx="1">
                  <c:v>6.9090013255197436</c:v>
                </c:pt>
                <c:pt idx="3">
                  <c:v>9.9705962428532526</c:v>
                </c:pt>
                <c:pt idx="5">
                  <c:v>9.92104954055494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F$2:$F$10</c:f>
              <c:numCache>
                <c:formatCode>General</c:formatCode>
                <c:ptCount val="9"/>
                <c:pt idx="0">
                  <c:v>6.1456105819477829</c:v>
                </c:pt>
                <c:pt idx="1">
                  <c:v>4.7107928919185795</c:v>
                </c:pt>
                <c:pt idx="2">
                  <c:v>4.7976955141357642</c:v>
                </c:pt>
                <c:pt idx="3">
                  <c:v>7.3043939450663276</c:v>
                </c:pt>
                <c:pt idx="4">
                  <c:v>11.6876985778046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G$2:$G$10</c:f>
              <c:numCache>
                <c:formatCode>General</c:formatCode>
                <c:ptCount val="9"/>
                <c:pt idx="0">
                  <c:v>9.6044999049727675</c:v>
                </c:pt>
                <c:pt idx="1">
                  <c:v>6.334774357177305</c:v>
                </c:pt>
                <c:pt idx="2">
                  <c:v>4.714737909118611</c:v>
                </c:pt>
                <c:pt idx="3">
                  <c:v>14.621397110842329</c:v>
                </c:pt>
                <c:pt idx="5">
                  <c:v>9.9828078170546455</c:v>
                </c:pt>
                <c:pt idx="7">
                  <c:v>9.9876561446917727</c:v>
                </c:pt>
                <c:pt idx="8">
                  <c:v>6.05453011285729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H$2:$H$10</c:f>
              <c:numCache>
                <c:formatCode>General</c:formatCode>
                <c:ptCount val="9"/>
                <c:pt idx="0">
                  <c:v>17.348534296237869</c:v>
                </c:pt>
                <c:pt idx="2">
                  <c:v>8.51610971582717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I$2:$I$10</c:f>
              <c:numCache>
                <c:formatCode>General</c:formatCode>
                <c:ptCount val="9"/>
                <c:pt idx="0">
                  <c:v>4.5804019356405439</c:v>
                </c:pt>
                <c:pt idx="1">
                  <c:v>9.331703956742883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B$2:$B$10</c:f>
              <c:numCache>
                <c:formatCode>General</c:formatCode>
                <c:ptCount val="9"/>
                <c:pt idx="6">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C$2:$C$10</c:f>
              <c:numCache>
                <c:formatCode>General</c:formatCode>
                <c:ptCount val="9"/>
                <c:pt idx="6">
                  <c:v>4.97960182767624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D$2:$D$10</c:f>
              <c:numCache>
                <c:formatCode>General</c:formatCode>
                <c:ptCount val="9"/>
                <c:pt idx="3">
                  <c:v>14.95705587585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E$2:$E$10</c:f>
              <c:numCache>
                <c:formatCode>General</c:formatCode>
                <c:ptCount val="9"/>
                <c:pt idx="0">
                  <c:v>9.426363807079591</c:v>
                </c:pt>
                <c:pt idx="1">
                  <c:v>6.7824745281895256</c:v>
                </c:pt>
                <c:pt idx="3">
                  <c:v>9.9544230004858019</c:v>
                </c:pt>
                <c:pt idx="4">
                  <c:v>9.9684294909579609</c:v>
                </c:pt>
                <c:pt idx="7">
                  <c:v>9.05082295892199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F$2:$F$10</c:f>
              <c:numCache>
                <c:formatCode>General</c:formatCode>
                <c:ptCount val="9"/>
                <c:pt idx="0">
                  <c:v>5.8637974256375642</c:v>
                </c:pt>
                <c:pt idx="1">
                  <c:v>4.5311709975164032</c:v>
                </c:pt>
                <c:pt idx="2">
                  <c:v>5.0709674506794276</c:v>
                </c:pt>
                <c:pt idx="3">
                  <c:v>7.0326274383015415</c:v>
                </c:pt>
                <c:pt idx="5">
                  <c:v>11.4717945957584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G$2:$G$10</c:f>
              <c:numCache>
                <c:formatCode>General</c:formatCode>
                <c:ptCount val="9"/>
                <c:pt idx="0">
                  <c:v>9.4138007945912037</c:v>
                </c:pt>
                <c:pt idx="1">
                  <c:v>5.7274599427394648</c:v>
                </c:pt>
                <c:pt idx="2">
                  <c:v>4.5401325743929677</c:v>
                </c:pt>
                <c:pt idx="3">
                  <c:v>14.540437412750116</c:v>
                </c:pt>
                <c:pt idx="4">
                  <c:v>9.9699122517164156</c:v>
                </c:pt>
                <c:pt idx="7">
                  <c:v>9.59800642226384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H$2:$H$10</c:f>
              <c:numCache>
                <c:formatCode>General</c:formatCode>
                <c:ptCount val="9"/>
                <c:pt idx="8">
                  <c:v>4.94910839511120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I$2:$I$10</c:f>
              <c:numCache>
                <c:formatCode>General</c:formatCode>
                <c:ptCount val="9"/>
                <c:pt idx="0">
                  <c:v>17.25290778177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J$2:$J$10</c:f>
              <c:numCache>
                <c:formatCode>General</c:formatCode>
                <c:ptCount val="9"/>
                <c:pt idx="0">
                  <c:v>4.1149792740566253</c:v>
                </c:pt>
                <c:pt idx="1">
                  <c:v>9.28857167038113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8597476076250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663378604471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440247761016925</c:v>
                </c:pt>
                <c:pt idx="1">
                  <c:v>6.8747657798096169</c:v>
                </c:pt>
                <c:pt idx="3">
                  <c:v>9.9472895640412027</c:v>
                </c:pt>
                <c:pt idx="4">
                  <c:v>9.9166174496644288</c:v>
                </c:pt>
                <c:pt idx="5">
                  <c:v>10.170786383282243</c:v>
                </c:pt>
                <c:pt idx="6">
                  <c:v>9.29345813618597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948335145055783</c:v>
                </c:pt>
                <c:pt idx="1">
                  <c:v>4.6669562566777305</c:v>
                </c:pt>
                <c:pt idx="2">
                  <c:v>4.7334454830493513</c:v>
                </c:pt>
                <c:pt idx="3">
                  <c:v>7.1978414154282699</c:v>
                </c:pt>
                <c:pt idx="5">
                  <c:v>11.6327198588016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508363297697672</c:v>
                </c:pt>
                <c:pt idx="1">
                  <c:v>6.2574192163998754</c:v>
                </c:pt>
                <c:pt idx="2">
                  <c:v>4.7835966139290216</c:v>
                </c:pt>
                <c:pt idx="3">
                  <c:v>14.51866726674935</c:v>
                </c:pt>
                <c:pt idx="4">
                  <c:v>9.9700878895583678</c:v>
                </c:pt>
                <c:pt idx="6">
                  <c:v>9.70051907530846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225255795257279</c:v>
                </c:pt>
                <c:pt idx="2">
                  <c:v>8.4002838490829159</c:v>
                </c:pt>
                <c:pt idx="3">
                  <c:v>15.96446730813242</c:v>
                </c:pt>
                <c:pt idx="5">
                  <c:v>23.03476416206165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8104306223694948</c:v>
                </c:pt>
                <c:pt idx="1">
                  <c:v>9.2560010680582963</c:v>
                </c:pt>
                <c:pt idx="4">
                  <c:v>16.8780845706805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3.217967599410898</c:v>
                </c:pt>
                <c:pt idx="2">
                  <c:v>19.496191512513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09265442404007</c:v>
                </c:pt>
                <c:pt idx="1">
                  <c:v>13.955336617405584</c:v>
                </c:pt>
                <c:pt idx="2">
                  <c:v>12.265584415584415</c:v>
                </c:pt>
                <c:pt idx="3">
                  <c:v>12.335715787260879</c:v>
                </c:pt>
                <c:pt idx="4">
                  <c:v>11.628073124606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4046275395033856</c:v>
                </c:pt>
                <c:pt idx="1">
                  <c:v>16.668412662263723</c:v>
                </c:pt>
                <c:pt idx="2">
                  <c:v>10.327979515828678</c:v>
                </c:pt>
                <c:pt idx="7">
                  <c:v>6.1522689075630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4.343537548630486</c:v>
                </c:pt>
                <c:pt idx="2">
                  <c:v>20.01545396007727</c:v>
                </c:pt>
                <c:pt idx="3">
                  <c:v>10.676574307304787</c:v>
                </c:pt>
                <c:pt idx="4">
                  <c:v>12.10787269681742</c:v>
                </c:pt>
                <c:pt idx="5">
                  <c:v>8.1768093892632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8.05066977285963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142580019398643</c:v>
                </c:pt>
                <c:pt idx="1">
                  <c:v>28.56710775047259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9.697813121272365</c:v>
                </c:pt>
                <c:pt idx="3">
                  <c:v>19.74285714285714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3.1294738649043</c:v>
                </c:pt>
                <c:pt idx="2">
                  <c:v>19.9001398601398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4.086916135881104</c:v>
                </c:pt>
                <c:pt idx="1">
                  <c:v>14.25393334461174</c:v>
                </c:pt>
                <c:pt idx="2">
                  <c:v>12.41154163231657</c:v>
                </c:pt>
                <c:pt idx="3">
                  <c:v>12.453247852909158</c:v>
                </c:pt>
                <c:pt idx="4">
                  <c:v>11.6725589225589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2436305019477896</c:v>
                </c:pt>
                <c:pt idx="1">
                  <c:v>16.702310231023102</c:v>
                </c:pt>
                <c:pt idx="2">
                  <c:v>10.552069227466394</c:v>
                </c:pt>
                <c:pt idx="7">
                  <c:v>6.06183848654054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4.143740207131119</c:v>
                </c:pt>
                <c:pt idx="2">
                  <c:v>19.372869565217393</c:v>
                </c:pt>
                <c:pt idx="3">
                  <c:v>11.111595846784748</c:v>
                </c:pt>
                <c:pt idx="4">
                  <c:v>12.201212121212121</c:v>
                </c:pt>
                <c:pt idx="5">
                  <c:v>8.1533758639021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8.12978634850166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323559279004822</c:v>
                </c:pt>
                <c:pt idx="1">
                  <c:v>28.6491294473883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8.758727535633135</c:v>
                </c:pt>
                <c:pt idx="3">
                  <c:v>19.92068300743596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B$2:$B$9</c:f>
              <c:numCache>
                <c:formatCode>General</c:formatCode>
                <c:ptCount val="8"/>
                <c:pt idx="6">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C$2:$C$9</c:f>
              <c:numCache>
                <c:formatCode>General</c:formatCode>
                <c:ptCount val="8"/>
                <c:pt idx="0">
                  <c:v>12.0016029466934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D$2:$D$9</c:f>
              <c:numCache>
                <c:formatCode>General</c:formatCode>
                <c:ptCount val="8"/>
                <c:pt idx="0">
                  <c:v>13.275667423571823</c:v>
                </c:pt>
                <c:pt idx="1">
                  <c:v>11.956923535549262</c:v>
                </c:pt>
                <c:pt idx="2">
                  <c:v>13.456990814987607</c:v>
                </c:pt>
                <c:pt idx="3">
                  <c:v>11.341700442151806</c:v>
                </c:pt>
                <c:pt idx="4">
                  <c:v>12.1867799026012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E$2:$E$9</c:f>
              <c:numCache>
                <c:formatCode>General</c:formatCode>
                <c:ptCount val="8"/>
                <c:pt idx="0">
                  <c:v>8.662018321403405</c:v>
                </c:pt>
                <c:pt idx="1">
                  <c:v>10.293014560081582</c:v>
                </c:pt>
                <c:pt idx="2">
                  <c:v>16.320628064440811</c:v>
                </c:pt>
                <c:pt idx="7">
                  <c:v>5.80248763674509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F$2:$F$9</c:f>
              <c:numCache>
                <c:formatCode>General</c:formatCode>
                <c:ptCount val="8"/>
                <c:pt idx="0">
                  <c:v>12.885218327947634</c:v>
                </c:pt>
                <c:pt idx="1">
                  <c:v>19.166457876605072</c:v>
                </c:pt>
                <c:pt idx="3">
                  <c:v>11.875994642716458</c:v>
                </c:pt>
                <c:pt idx="4">
                  <c:v>10.445038569424964</c:v>
                </c:pt>
                <c:pt idx="5">
                  <c:v>7.90003048397797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G$2:$G$9</c:f>
              <c:numCache>
                <c:formatCode>General</c:formatCode>
                <c:ptCount val="8"/>
                <c:pt idx="0">
                  <c:v>7.66157032344520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H$2:$H$9</c:f>
              <c:numCache>
                <c:formatCode>General</c:formatCode>
                <c:ptCount val="8"/>
                <c:pt idx="0">
                  <c:v>22.829354126414575</c:v>
                </c:pt>
                <c:pt idx="1">
                  <c:v>18.838621034224332</c:v>
                </c:pt>
                <c:pt idx="2">
                  <c:v>27.8660812294182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I$2:$I$9</c:f>
              <c:numCache>
                <c:formatCode>General</c:formatCode>
                <c:ptCount val="8"/>
                <c:pt idx="0">
                  <c:v>15.45493642483171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FDBCC4-A486-4C13-A285-38D4748D6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0FE113-E74D-4CE7-BE24-D0081D06D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69F713-F9D1-43BA-8AD4-BBA5DB0EE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F5B4FA-91DB-4E20-8FEF-E900CD0E9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8F63C7-4E76-41A7-B068-164F14441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421EDD-C2F3-4B00-9BFA-C70DEE926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9404DB-9344-4091-AAED-0002DF356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ACC1D0-21DF-496E-965D-907862515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147516196948393</c:v>
                </c:pt>
                <c:pt idx="1">
                  <c:v>5.8814878599292859</c:v>
                </c:pt>
                <c:pt idx="2">
                  <c:v>3.3422120486942051</c:v>
                </c:pt>
                <c:pt idx="3">
                  <c:v>3.6681644915483411</c:v>
                </c:pt>
                <c:pt idx="4">
                  <c:v>6.201721452250669</c:v>
                </c:pt>
                <c:pt idx="5">
                  <c:v>14.99726603575184</c:v>
                </c:pt>
                <c:pt idx="6">
                  <c:v>10.46340543259557</c:v>
                </c:pt>
              </c:numCache>
            </c:numRef>
          </c:xVal>
          <c:yVal>
            <c:numRef>
              <c:f>Sheet1!$B$2:$B$8</c:f>
              <c:numCache>
                <c:formatCode>General</c:formatCode>
                <c:ptCount val="7"/>
                <c:pt idx="0">
                  <c:v>1.813204283396127</c:v>
                </c:pt>
                <c:pt idx="1">
                  <c:v>1.7216020503462619</c:v>
                </c:pt>
                <c:pt idx="2">
                  <c:v>0.82492120900254062</c:v>
                </c:pt>
                <c:pt idx="3">
                  <c:v>0.29466403541764302</c:v>
                </c:pt>
                <c:pt idx="4">
                  <c:v>1.465590981021579</c:v>
                </c:pt>
                <c:pt idx="5">
                  <c:v>0.86102252960597292</c:v>
                </c:pt>
                <c:pt idx="6">
                  <c:v>3.5923751912469601</c:v>
                </c:pt>
              </c:numCache>
            </c:numRef>
          </c:yVal>
          <c:bubbleSize>
            <c:numRef>
              <c:f>Sheet1!$C$2:$C$8</c:f>
              <c:numCache>
                <c:formatCode>General</c:formatCode>
                <c:ptCount val="7"/>
                <c:pt idx="0">
                  <c:v>3402528</c:v>
                </c:pt>
                <c:pt idx="1">
                  <c:v>2253992</c:v>
                </c:pt>
                <c:pt idx="2">
                  <c:v>1573978</c:v>
                </c:pt>
                <c:pt idx="3">
                  <c:v>990210</c:v>
                </c:pt>
                <c:pt idx="4">
                  <c:v>310545</c:v>
                </c:pt>
                <c:pt idx="5">
                  <c:v>213936</c:v>
                </c:pt>
                <c:pt idx="6">
                  <c:v>16641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B$2:$B$8</c:f>
              <c:numCache>
                <c:formatCode>General</c:formatCode>
                <c:ptCount val="7"/>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C$2:$C$8</c:f>
              <c:numCache>
                <c:formatCode>General</c:formatCode>
                <c:ptCount val="7"/>
                <c:pt idx="0">
                  <c:v>13.607253368823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D$2:$D$8</c:f>
              <c:numCache>
                <c:formatCode>General</c:formatCode>
                <c:ptCount val="7"/>
                <c:pt idx="0">
                  <c:v>14.474365258594029</c:v>
                </c:pt>
                <c:pt idx="1">
                  <c:v>14.5838168347764</c:v>
                </c:pt>
                <c:pt idx="2">
                  <c:v>12.30509644514323</c:v>
                </c:pt>
                <c:pt idx="3">
                  <c:v>12.496248082583641</c:v>
                </c:pt>
                <c:pt idx="4">
                  <c:v>11.7057313840950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E$2:$E$8</c:f>
              <c:numCache>
                <c:formatCode>General</c:formatCode>
                <c:ptCount val="7"/>
                <c:pt idx="0">
                  <c:v>9.9244041801368326</c:v>
                </c:pt>
                <c:pt idx="1">
                  <c:v>17.061341531148685</c:v>
                </c:pt>
                <c:pt idx="2">
                  <c:v>10.77262211244085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F$2:$F$8</c:f>
              <c:numCache>
                <c:formatCode>General</c:formatCode>
                <c:ptCount val="7"/>
                <c:pt idx="0">
                  <c:v>15.638370783766584</c:v>
                </c:pt>
                <c:pt idx="2">
                  <c:v>20.264279204010329</c:v>
                </c:pt>
                <c:pt idx="3">
                  <c:v>11.149165514616017</c:v>
                </c:pt>
                <c:pt idx="4">
                  <c:v>12.075637182917262</c:v>
                </c:pt>
                <c:pt idx="5">
                  <c:v>8.37866971414451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G$2:$G$8</c:f>
              <c:numCache>
                <c:formatCode>General</c:formatCode>
                <c:ptCount val="7"/>
                <c:pt idx="0">
                  <c:v>8.3236058539308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H$2:$H$8</c:f>
              <c:numCache>
                <c:formatCode>General</c:formatCode>
                <c:ptCount val="7"/>
                <c:pt idx="0">
                  <c:v>24.037843396130604</c:v>
                </c:pt>
                <c:pt idx="1">
                  <c:v>28.58944231222796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I$2:$I$8</c:f>
              <c:numCache>
                <c:formatCode>General</c:formatCode>
                <c:ptCount val="7"/>
                <c:pt idx="0">
                  <c:v>20.654963728908662</c:v>
                </c:pt>
                <c:pt idx="3">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B$2:$B$9</c:f>
              <c:numCache>
                <c:formatCode>General</c:formatCode>
                <c:ptCount val="8"/>
                <c:pt idx="6">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C$2:$C$9</c:f>
              <c:numCache>
                <c:formatCode>General</c:formatCode>
                <c:ptCount val="8"/>
                <c:pt idx="0">
                  <c:v>12.5502090587462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D$2:$D$9</c:f>
              <c:numCache>
                <c:formatCode>General</c:formatCode>
                <c:ptCount val="8"/>
                <c:pt idx="0">
                  <c:v>13.199022577905355</c:v>
                </c:pt>
                <c:pt idx="1">
                  <c:v>13.48972782681799</c:v>
                </c:pt>
                <c:pt idx="2">
                  <c:v>12.167419765959911</c:v>
                </c:pt>
                <c:pt idx="3">
                  <c:v>11.320764561629302</c:v>
                </c:pt>
                <c:pt idx="4">
                  <c:v>12.273358599688917</c:v>
                </c:pt>
                <c:pt idx="7">
                  <c:v>7.0219896023605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E$2:$E$9</c:f>
              <c:numCache>
                <c:formatCode>General</c:formatCode>
                <c:ptCount val="8"/>
                <c:pt idx="0">
                  <c:v>8.7564206438005581</c:v>
                </c:pt>
                <c:pt idx="1">
                  <c:v>15.97349013789492</c:v>
                </c:pt>
                <c:pt idx="2">
                  <c:v>10.177492323199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F$2:$F$9</c:f>
              <c:numCache>
                <c:formatCode>General</c:formatCode>
                <c:ptCount val="8"/>
                <c:pt idx="0">
                  <c:v>12.418096415327565</c:v>
                </c:pt>
                <c:pt idx="2">
                  <c:v>18.760628959621403</c:v>
                </c:pt>
                <c:pt idx="3">
                  <c:v>11.843617223666687</c:v>
                </c:pt>
                <c:pt idx="4">
                  <c:v>10.450054965188714</c:v>
                </c:pt>
                <c:pt idx="5">
                  <c:v>7.99636552020009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G$2:$G$9</c:f>
              <c:numCache>
                <c:formatCode>General</c:formatCode>
                <c:ptCount val="8"/>
                <c:pt idx="0">
                  <c:v>7.77704533611255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H$2:$H$9</c:f>
              <c:numCache>
                <c:formatCode>General</c:formatCode>
                <c:ptCount val="8"/>
                <c:pt idx="0">
                  <c:v>22.062508704977855</c:v>
                </c:pt>
                <c:pt idx="1">
                  <c:v>27.827192247876539</c:v>
                </c:pt>
                <c:pt idx="2">
                  <c:v>18.7089721491427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B$2:$B$9</c:f>
              <c:numCache>
                <c:formatCode>General</c:formatCode>
                <c:ptCount val="8"/>
                <c:pt idx="0">
                  <c:v>11.7025769818737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C$2:$C$9</c:f>
              <c:numCache>
                <c:formatCode>General</c:formatCode>
                <c:ptCount val="8"/>
                <c:pt idx="0">
                  <c:v>13.13408451819874</c:v>
                </c:pt>
                <c:pt idx="1">
                  <c:v>11.838520258367586</c:v>
                </c:pt>
                <c:pt idx="3">
                  <c:v>13.390850530836216</c:v>
                </c:pt>
                <c:pt idx="4">
                  <c:v>12.302621453855229</c:v>
                </c:pt>
                <c:pt idx="5">
                  <c:v>11.493926785188922</c:v>
                </c:pt>
                <c:pt idx="6">
                  <c:v>7.0626189143816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D$2:$D$9</c:f>
              <c:numCache>
                <c:formatCode>General</c:formatCode>
                <c:ptCount val="8"/>
                <c:pt idx="0">
                  <c:v>8.4686292158627623</c:v>
                </c:pt>
                <c:pt idx="1">
                  <c:v>10.045848087275109</c:v>
                </c:pt>
                <c:pt idx="3">
                  <c:v>16.039625658946871</c:v>
                </c:pt>
                <c:pt idx="7">
                  <c:v>5.82881917878092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E$2:$E$9</c:f>
              <c:numCache>
                <c:formatCode>General</c:formatCode>
                <c:ptCount val="8"/>
                <c:pt idx="0">
                  <c:v>11.523892273422613</c:v>
                </c:pt>
                <c:pt idx="1">
                  <c:v>18.12173774665818</c:v>
                </c:pt>
                <c:pt idx="2">
                  <c:v>7.8408138526328992</c:v>
                </c:pt>
                <c:pt idx="4">
                  <c:v>10.615080789946139</c:v>
                </c:pt>
                <c:pt idx="5">
                  <c:v>12.0129460580912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F$2:$F$9</c:f>
              <c:numCache>
                <c:formatCode>General</c:formatCode>
                <c:ptCount val="8"/>
                <c:pt idx="0">
                  <c:v>7.50721300859805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G$2:$G$9</c:f>
              <c:numCache>
                <c:formatCode>General</c:formatCode>
                <c:ptCount val="8"/>
                <c:pt idx="0">
                  <c:v>22.441512554503081</c:v>
                </c:pt>
                <c:pt idx="1">
                  <c:v>19.047293092719354</c:v>
                </c:pt>
                <c:pt idx="3">
                  <c:v>28.52069297401347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B$2:$B$9</c:f>
              <c:numCache>
                <c:formatCode>General</c:formatCode>
                <c:ptCount val="8"/>
                <c:pt idx="6">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C$2:$C$9</c:f>
              <c:numCache>
                <c:formatCode>General</c:formatCode>
                <c:ptCount val="8"/>
                <c:pt idx="0">
                  <c:v>12.8681128722031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D$2:$D$9</c:f>
              <c:numCache>
                <c:formatCode>General</c:formatCode>
                <c:ptCount val="8"/>
                <c:pt idx="0">
                  <c:v>13.92481480626774</c:v>
                </c:pt>
                <c:pt idx="1">
                  <c:v>12.048028557520688</c:v>
                </c:pt>
                <c:pt idx="2">
                  <c:v>14.112357352461689</c:v>
                </c:pt>
                <c:pt idx="3">
                  <c:v>12.432199345514045</c:v>
                </c:pt>
                <c:pt idx="4">
                  <c:v>11.5929753376022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E$2:$E$9</c:f>
              <c:numCache>
                <c:formatCode>General</c:formatCode>
                <c:ptCount val="8"/>
                <c:pt idx="0">
                  <c:v>9.6844661776691119</c:v>
                </c:pt>
                <c:pt idx="1">
                  <c:v>10.280613872159996</c:v>
                </c:pt>
                <c:pt idx="2">
                  <c:v>16.340548808751276</c:v>
                </c:pt>
                <c:pt idx="7">
                  <c:v>5.98957399475379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F$2:$F$9</c:f>
              <c:numCache>
                <c:formatCode>General</c:formatCode>
                <c:ptCount val="8"/>
                <c:pt idx="0">
                  <c:v>13.782613843124548</c:v>
                </c:pt>
                <c:pt idx="1">
                  <c:v>19.715703651187521</c:v>
                </c:pt>
                <c:pt idx="3">
                  <c:v>10.946946684822457</c:v>
                </c:pt>
                <c:pt idx="4">
                  <c:v>12.038193970808894</c:v>
                </c:pt>
                <c:pt idx="5">
                  <c:v>8.1822936924129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G$2:$G$9</c:f>
              <c:numCache>
                <c:formatCode>General</c:formatCode>
                <c:ptCount val="8"/>
                <c:pt idx="0">
                  <c:v>8.14739419912757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H$2:$H$9</c:f>
              <c:numCache>
                <c:formatCode>General</c:formatCode>
                <c:ptCount val="8"/>
                <c:pt idx="0">
                  <c:v>23.256270147024136</c:v>
                </c:pt>
                <c:pt idx="2">
                  <c:v>29.1464547677261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I$2:$I$9</c:f>
              <c:numCache>
                <c:formatCode>General</c:formatCode>
                <c:ptCount val="8"/>
                <c:pt idx="0">
                  <c:v>19.969496896870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B$2:$B$10</c:f>
              <c:numCache>
                <c:formatCode>General</c:formatCode>
                <c:ptCount val="9"/>
                <c:pt idx="1">
                  <c:v>2.6796774784680228</c:v>
                </c:pt>
                <c:pt idx="6">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C$2:$C$10</c:f>
              <c:numCache>
                <c:formatCode>General</c:formatCode>
                <c:ptCount val="9"/>
                <c:pt idx="6">
                  <c:v>5.23864363403710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D$2:$D$10</c:f>
              <c:numCache>
                <c:formatCode>General</c:formatCode>
                <c:ptCount val="9"/>
                <c:pt idx="1">
                  <c:v>1.9943759722388417</c:v>
                </c:pt>
                <c:pt idx="3">
                  <c:v>16.1622978248745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E$2:$E$10</c:f>
              <c:numCache>
                <c:formatCode>General</c:formatCode>
                <c:ptCount val="9"/>
                <c:pt idx="0">
                  <c:v>10.960454854039375</c:v>
                </c:pt>
                <c:pt idx="2">
                  <c:v>7.1982731554160129</c:v>
                </c:pt>
                <c:pt idx="3">
                  <c:v>10.794602698650674</c:v>
                </c:pt>
                <c:pt idx="5">
                  <c:v>10.357878787878787</c:v>
                </c:pt>
                <c:pt idx="7">
                  <c:v>9.7611940298507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F$2:$F$10</c:f>
              <c:numCache>
                <c:formatCode>General</c:formatCode>
                <c:ptCount val="9"/>
                <c:pt idx="0">
                  <c:v>5.8100583744948358</c:v>
                </c:pt>
                <c:pt idx="1">
                  <c:v>4.8954503513379235</c:v>
                </c:pt>
                <c:pt idx="2">
                  <c:v>4.9877331540917496</c:v>
                </c:pt>
                <c:pt idx="3">
                  <c:v>7.0400526513726964</c:v>
                </c:pt>
                <c:pt idx="4">
                  <c:v>12.333333333333334</c:v>
                </c:pt>
                <c:pt idx="8">
                  <c:v>5.95847457627118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G$2:$G$10</c:f>
              <c:numCache>
                <c:formatCode>General</c:formatCode>
                <c:ptCount val="9"/>
                <c:pt idx="0">
                  <c:v>10.761948111060537</c:v>
                </c:pt>
                <c:pt idx="1">
                  <c:v>4.6635475150758996</c:v>
                </c:pt>
                <c:pt idx="2">
                  <c:v>6.437177541729894</c:v>
                </c:pt>
                <c:pt idx="3">
                  <c:v>15.855285961871751</c:v>
                </c:pt>
                <c:pt idx="5">
                  <c:v>10.291488349976225</c:v>
                </c:pt>
                <c:pt idx="7">
                  <c:v>10.53057918185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H$2:$H$10</c:f>
              <c:numCache>
                <c:formatCode>General</c:formatCode>
                <c:ptCount val="9"/>
                <c:pt idx="3">
                  <c:v>10.5542662116040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I$2:$I$10</c:f>
              <c:numCache>
                <c:formatCode>General</c:formatCode>
                <c:ptCount val="9"/>
                <c:pt idx="0">
                  <c:v>18.664363845710994</c:v>
                </c:pt>
                <c:pt idx="1">
                  <c:v>8.9324471562431906</c:v>
                </c:pt>
                <c:pt idx="3">
                  <c:v>16.074592074592076</c:v>
                </c:pt>
                <c:pt idx="4">
                  <c:v>25.392912172573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J$2:$J$10</c:f>
              <c:numCache>
                <c:formatCode>General</c:formatCode>
                <c:ptCount val="9"/>
                <c:pt idx="0">
                  <c:v>4.6089956555072833</c:v>
                </c:pt>
                <c:pt idx="2">
                  <c:v>9.6955985191279304</c:v>
                </c:pt>
                <c:pt idx="5">
                  <c:v>17.08076009501187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B$2:$B$9</c:f>
              <c:numCache>
                <c:formatCode>General</c:formatCode>
                <c:ptCount val="8"/>
                <c:pt idx="7">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C$2:$C$9</c:f>
              <c:numCache>
                <c:formatCode>General</c:formatCode>
                <c:ptCount val="8"/>
                <c:pt idx="7">
                  <c:v>4.9785546833374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D$2:$D$9</c:f>
              <c:numCache>
                <c:formatCode>General</c:formatCode>
                <c:ptCount val="8"/>
                <c:pt idx="4">
                  <c:v>14.9608347122042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E$2:$E$9</c:f>
              <c:numCache>
                <c:formatCode>General</c:formatCode>
                <c:ptCount val="8"/>
                <c:pt idx="0">
                  <c:v>10.343192257865963</c:v>
                </c:pt>
                <c:pt idx="1">
                  <c:v>6.8760447238870492</c:v>
                </c:pt>
                <c:pt idx="3">
                  <c:v>10.186384219018374</c:v>
                </c:pt>
                <c:pt idx="4">
                  <c:v>9.9512852591799614</c:v>
                </c:pt>
                <c:pt idx="5">
                  <c:v>9.9100402911670091</c:v>
                </c:pt>
                <c:pt idx="6">
                  <c:v>9.32020828645816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F$2:$F$9</c:f>
              <c:numCache>
                <c:formatCode>General</c:formatCode>
                <c:ptCount val="8"/>
                <c:pt idx="0">
                  <c:v>6.2852719536294428</c:v>
                </c:pt>
                <c:pt idx="1">
                  <c:v>4.6908644315186372</c:v>
                </c:pt>
                <c:pt idx="2">
                  <c:v>4.7259184926405284</c:v>
                </c:pt>
                <c:pt idx="3">
                  <c:v>11.734370175305722</c:v>
                </c:pt>
                <c:pt idx="4">
                  <c:v>7.3603752392045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G$2:$G$9</c:f>
              <c:numCache>
                <c:formatCode>General</c:formatCode>
                <c:ptCount val="8"/>
                <c:pt idx="0">
                  <c:v>10.374699375800567</c:v>
                </c:pt>
                <c:pt idx="1">
                  <c:v>6.3161662452591658</c:v>
                </c:pt>
                <c:pt idx="2">
                  <c:v>4.7629523260074027</c:v>
                </c:pt>
                <c:pt idx="4">
                  <c:v>14.540925050538828</c:v>
                </c:pt>
                <c:pt idx="5">
                  <c:v>9.9701361952812864</c:v>
                </c:pt>
                <c:pt idx="6">
                  <c:v>9.76014205380504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H$2:$H$9</c:f>
              <c:numCache>
                <c:formatCode>General</c:formatCode>
                <c:ptCount val="8"/>
                <c:pt idx="0">
                  <c:v>17.871010814552275</c:v>
                </c:pt>
                <c:pt idx="2">
                  <c:v>8.3752077350386287</c:v>
                </c:pt>
                <c:pt idx="3">
                  <c:v>23.255346918154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I$2:$I$9</c:f>
              <c:numCache>
                <c:formatCode>General</c:formatCode>
                <c:ptCount val="8"/>
                <c:pt idx="0">
                  <c:v>4.8454690286767796</c:v>
                </c:pt>
                <c:pt idx="1">
                  <c:v>9.2421420974990571</c:v>
                </c:pt>
                <c:pt idx="5">
                  <c:v>16.88568015254899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B$2:$B$9</c:f>
              <c:numCache>
                <c:formatCode>General</c:formatCode>
                <c:ptCount val="8"/>
                <c:pt idx="7">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C$2:$C$9</c:f>
              <c:numCache>
                <c:formatCode>General</c:formatCode>
                <c:ptCount val="8"/>
                <c:pt idx="7">
                  <c:v>4.992040774250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D$2:$D$9</c:f>
              <c:numCache>
                <c:formatCode>General</c:formatCode>
                <c:ptCount val="8"/>
                <c:pt idx="5">
                  <c:v>14.9630336833994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E$2:$E$9</c:f>
              <c:numCache>
                <c:formatCode>General</c:formatCode>
                <c:ptCount val="8"/>
                <c:pt idx="0">
                  <c:v>10.528279013972663</c:v>
                </c:pt>
                <c:pt idx="2">
                  <c:v>6.8635549675394607</c:v>
                </c:pt>
                <c:pt idx="3">
                  <c:v>9.9260042039572536</c:v>
                </c:pt>
                <c:pt idx="4">
                  <c:v>10.15603243049005</c:v>
                </c:pt>
                <c:pt idx="5">
                  <c:v>9.9553401315710648</c:v>
                </c:pt>
                <c:pt idx="6">
                  <c:v>9.30386446121201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F$2:$F$9</c:f>
              <c:numCache>
                <c:formatCode>General</c:formatCode>
                <c:ptCount val="8"/>
                <c:pt idx="0">
                  <c:v>6.3663821804394685</c:v>
                </c:pt>
                <c:pt idx="1">
                  <c:v>4.760667826231864</c:v>
                </c:pt>
                <c:pt idx="2">
                  <c:v>4.7043580783544989</c:v>
                </c:pt>
                <c:pt idx="4">
                  <c:v>11.718276627014689</c:v>
                </c:pt>
                <c:pt idx="5">
                  <c:v>7.2667144389884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G$2:$G$9</c:f>
              <c:numCache>
                <c:formatCode>General</c:formatCode>
                <c:ptCount val="8"/>
                <c:pt idx="0">
                  <c:v>10.931637796665001</c:v>
                </c:pt>
                <c:pt idx="1">
                  <c:v>4.9451357828983378</c:v>
                </c:pt>
                <c:pt idx="2">
                  <c:v>6.3043376542550895</c:v>
                </c:pt>
                <c:pt idx="3">
                  <c:v>9.9704521729987903</c:v>
                </c:pt>
                <c:pt idx="5">
                  <c:v>14.504567278757808</c:v>
                </c:pt>
                <c:pt idx="6">
                  <c:v>9.67132631549700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H$2:$H$9</c:f>
              <c:numCache>
                <c:formatCode>General</c:formatCode>
                <c:ptCount val="8"/>
                <c:pt idx="0">
                  <c:v>18.690413630129065</c:v>
                </c:pt>
                <c:pt idx="1">
                  <c:v>8.4131105096643441</c:v>
                </c:pt>
                <c:pt idx="4">
                  <c:v>23.166583541147133</c:v>
                </c:pt>
                <c:pt idx="5">
                  <c:v>16.1326590472337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I$2:$I$9</c:f>
              <c:numCache>
                <c:formatCode>General</c:formatCode>
                <c:ptCount val="8"/>
                <c:pt idx="0">
                  <c:v>4.9949203002641216</c:v>
                </c:pt>
                <c:pt idx="2">
                  <c:v>9.279137067330824</c:v>
                </c:pt>
                <c:pt idx="3">
                  <c:v>16.87960090882149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B$2:$B$9</c:f>
              <c:numCache>
                <c:formatCode>General</c:formatCode>
                <c:ptCount val="8"/>
                <c:pt idx="4">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C$2:$C$9</c:f>
              <c:numCache>
                <c:formatCode>General</c:formatCode>
                <c:ptCount val="8"/>
                <c:pt idx="4">
                  <c:v>6.13379724814170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D$2:$D$9</c:f>
              <c:numCache>
                <c:formatCode>General</c:formatCode>
                <c:ptCount val="8"/>
                <c:pt idx="0">
                  <c:v>10.3362796427471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E$2:$E$9</c:f>
              <c:numCache>
                <c:formatCode>General</c:formatCode>
                <c:ptCount val="8"/>
                <c:pt idx="0">
                  <c:v>6.4246964097148895</c:v>
                </c:pt>
                <c:pt idx="1">
                  <c:v>3.4747583943317095</c:v>
                </c:pt>
                <c:pt idx="2">
                  <c:v>5.6547705168394824</c:v>
                </c:pt>
                <c:pt idx="3">
                  <c:v>5.7705677867902665</c:v>
                </c:pt>
                <c:pt idx="7">
                  <c:v>13.1499805220101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F$2:$F$9</c:f>
              <c:numCache>
                <c:formatCode>General</c:formatCode>
                <c:ptCount val="8"/>
                <c:pt idx="0">
                  <c:v>7.78685162396987</c:v>
                </c:pt>
                <c:pt idx="1">
                  <c:v>3.468798422313002</c:v>
                </c:pt>
                <c:pt idx="2">
                  <c:v>3.6734575569358179</c:v>
                </c:pt>
                <c:pt idx="3">
                  <c:v>5.3202968311271563</c:v>
                </c:pt>
                <c:pt idx="5">
                  <c:v>6.4534566270365481</c:v>
                </c:pt>
                <c:pt idx="6">
                  <c:v>15.216697080291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G$2:$G$9</c:f>
              <c:numCache>
                <c:formatCode>General</c:formatCode>
                <c:ptCount val="8"/>
                <c:pt idx="0">
                  <c:v>6.1319562709443503</c:v>
                </c:pt>
                <c:pt idx="1">
                  <c:v>2.8350360302836815</c:v>
                </c:pt>
                <c:pt idx="2">
                  <c:v>1.54426305970149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H$2:$H$9</c:f>
              <c:numCache>
                <c:formatCode>General</c:formatCode>
                <c:ptCount val="8"/>
                <c:pt idx="1">
                  <c:v>4.5981161337408203</c:v>
                </c:pt>
                <c:pt idx="2">
                  <c:v>10.8835787718810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I$2:$I$9</c:f>
              <c:numCache>
                <c:formatCode>General</c:formatCode>
                <c:ptCount val="8"/>
                <c:pt idx="0">
                  <c:v>4.006302843966180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B$2:$B$9</c:f>
              <c:numCache>
                <c:formatCode>General</c:formatCode>
                <c:ptCount val="8"/>
                <c:pt idx="7">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C$2:$C$9</c:f>
              <c:numCache>
                <c:formatCode>General</c:formatCode>
                <c:ptCount val="8"/>
                <c:pt idx="7">
                  <c:v>4.97715993847404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D$2:$D$9</c:f>
              <c:numCache>
                <c:formatCode>General</c:formatCode>
                <c:ptCount val="8"/>
                <c:pt idx="4">
                  <c:v>14.9569463570603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E$2:$E$9</c:f>
              <c:numCache>
                <c:formatCode>General</c:formatCode>
                <c:ptCount val="8"/>
                <c:pt idx="0">
                  <c:v>10.258243304941358</c:v>
                </c:pt>
                <c:pt idx="2">
                  <c:v>6.8649916961205975</c:v>
                </c:pt>
                <c:pt idx="3">
                  <c:v>9.9187133126030087</c:v>
                </c:pt>
                <c:pt idx="4">
                  <c:v>9.9513330206717416</c:v>
                </c:pt>
                <c:pt idx="5">
                  <c:v>10.174266752301435</c:v>
                </c:pt>
                <c:pt idx="6">
                  <c:v>9.25700974020493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F$2:$F$9</c:f>
              <c:numCache>
                <c:formatCode>General</c:formatCode>
                <c:ptCount val="8"/>
                <c:pt idx="0">
                  <c:v>6.2699162708710769</c:v>
                </c:pt>
                <c:pt idx="1">
                  <c:v>4.7481310285906977</c:v>
                </c:pt>
                <c:pt idx="2">
                  <c:v>4.6251135529011558</c:v>
                </c:pt>
                <c:pt idx="4">
                  <c:v>7.2495173800522181</c:v>
                </c:pt>
                <c:pt idx="5">
                  <c:v>11.6091407363712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G$2:$G$9</c:f>
              <c:numCache>
                <c:formatCode>General</c:formatCode>
                <c:ptCount val="8"/>
                <c:pt idx="0">
                  <c:v>10.229463144344821</c:v>
                </c:pt>
                <c:pt idx="1">
                  <c:v>4.7505540388032017</c:v>
                </c:pt>
                <c:pt idx="2">
                  <c:v>6.2047478851486542</c:v>
                </c:pt>
                <c:pt idx="3">
                  <c:v>9.9699639504642512</c:v>
                </c:pt>
                <c:pt idx="4">
                  <c:v>14.535419434781959</c:v>
                </c:pt>
                <c:pt idx="6">
                  <c:v>9.68115502103706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H$2:$H$9</c:f>
              <c:numCache>
                <c:formatCode>General</c:formatCode>
                <c:ptCount val="8"/>
                <c:pt idx="0">
                  <c:v>17.777738228980123</c:v>
                </c:pt>
                <c:pt idx="1">
                  <c:v>8.3837477245399761</c:v>
                </c:pt>
                <c:pt idx="5">
                  <c:v>22.84504105639784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I$2:$I$9</c:f>
              <c:numCache>
                <c:formatCode>General</c:formatCode>
                <c:ptCount val="8"/>
                <c:pt idx="0">
                  <c:v>4.5190329367734181</c:v>
                </c:pt>
                <c:pt idx="2">
                  <c:v>9.24573614788162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B$2:$B$10</c:f>
              <c:numCache>
                <c:formatCode>General</c:formatCode>
                <c:ptCount val="9"/>
                <c:pt idx="7">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C$2:$C$10</c:f>
              <c:numCache>
                <c:formatCode>General</c:formatCode>
                <c:ptCount val="9"/>
                <c:pt idx="7">
                  <c:v>4.97750274764658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D$2:$D$10</c:f>
              <c:numCache>
                <c:formatCode>General</c:formatCode>
                <c:ptCount val="9"/>
                <c:pt idx="3">
                  <c:v>14.9613073474708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E$2:$E$10</c:f>
              <c:numCache>
                <c:formatCode>General</c:formatCode>
                <c:ptCount val="9"/>
                <c:pt idx="0">
                  <c:v>10.252656098230194</c:v>
                </c:pt>
                <c:pt idx="1">
                  <c:v>6.868513326182546</c:v>
                </c:pt>
                <c:pt idx="3">
                  <c:v>9.9499455160409269</c:v>
                </c:pt>
                <c:pt idx="4">
                  <c:v>9.9087464159196159</c:v>
                </c:pt>
                <c:pt idx="6">
                  <c:v>9.25867703174474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F$2:$F$10</c:f>
              <c:numCache>
                <c:formatCode>General</c:formatCode>
                <c:ptCount val="9"/>
                <c:pt idx="0">
                  <c:v>6.1496129579795893</c:v>
                </c:pt>
                <c:pt idx="1">
                  <c:v>4.5781181640890516</c:v>
                </c:pt>
                <c:pt idx="2">
                  <c:v>4.7286759786979946</c:v>
                </c:pt>
                <c:pt idx="3">
                  <c:v>6.9955022602182675</c:v>
                </c:pt>
                <c:pt idx="5">
                  <c:v>11.442545364195947</c:v>
                </c:pt>
                <c:pt idx="8">
                  <c:v>5.4053952464740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G$2:$G$10</c:f>
              <c:numCache>
                <c:formatCode>General</c:formatCode>
                <c:ptCount val="9"/>
                <c:pt idx="0">
                  <c:v>10.129280977456704</c:v>
                </c:pt>
                <c:pt idx="1">
                  <c:v>6.1214807573208549</c:v>
                </c:pt>
                <c:pt idx="2">
                  <c:v>4.62603834942459</c:v>
                </c:pt>
                <c:pt idx="3">
                  <c:v>14.510379521141111</c:v>
                </c:pt>
                <c:pt idx="4">
                  <c:v>9.9702407130501065</c:v>
                </c:pt>
                <c:pt idx="6">
                  <c:v>9.6982972184765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H$2:$H$10</c:f>
              <c:numCache>
                <c:formatCode>General</c:formatCode>
                <c:ptCount val="9"/>
                <c:pt idx="0">
                  <c:v>17.726843989317711</c:v>
                </c:pt>
                <c:pt idx="2">
                  <c:v>8.3656280159347638</c:v>
                </c:pt>
                <c:pt idx="5">
                  <c:v>22.7019667661949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I$2:$I$10</c:f>
              <c:numCache>
                <c:formatCode>General</c:formatCode>
                <c:ptCount val="9"/>
                <c:pt idx="0">
                  <c:v>4.5117251190020244</c:v>
                </c:pt>
                <c:pt idx="1">
                  <c:v>9.207285234112404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20A644-3544-4F0E-95BF-91C90B5BE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9E3942-97E5-47A2-AB00-30E216D94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1045D0-C2DF-4793-92B6-B5AF69006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36F5E7-B334-4EAC-BDD9-D4126DB83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18E73F-2EB1-4B52-B284-56249B6C0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6A7FBE-DD0C-4D75-9D35-E7BB049D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5F2BAA-1B68-4A36-AE2A-CE6991D2F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E70168-3498-4164-B601-4AF3FEE9D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92892664411681</c:v>
                </c:pt>
                <c:pt idx="1">
                  <c:v>10.3876235079656</c:v>
                </c:pt>
                <c:pt idx="2">
                  <c:v>12.307953219218049</c:v>
                </c:pt>
                <c:pt idx="3">
                  <c:v>12.60185527175611</c:v>
                </c:pt>
                <c:pt idx="4">
                  <c:v>10.11692985577055</c:v>
                </c:pt>
                <c:pt idx="5">
                  <c:v>6.9313429567882894</c:v>
                </c:pt>
              </c:numCache>
            </c:numRef>
          </c:xVal>
          <c:yVal>
            <c:numRef>
              <c:f>Sheet1!$B$2:$B$7</c:f>
              <c:numCache>
                <c:formatCode>General</c:formatCode>
                <c:ptCount val="6"/>
                <c:pt idx="0">
                  <c:v>1.2905561801568091</c:v>
                </c:pt>
                <c:pt idx="1">
                  <c:v>0.84405828803477834</c:v>
                </c:pt>
                <c:pt idx="2">
                  <c:v>1.0756891342138399</c:v>
                </c:pt>
                <c:pt idx="3">
                  <c:v>1.3898215848183799</c:v>
                </c:pt>
                <c:pt idx="4">
                  <c:v>0.742536478406571</c:v>
                </c:pt>
                <c:pt idx="5">
                  <c:v>0.52696199098383589</c:v>
                </c:pt>
              </c:numCache>
            </c:numRef>
          </c:yVal>
          <c:bubbleSize>
            <c:numRef>
              <c:f>Sheet1!$C$2:$C$7</c:f>
              <c:numCache>
                <c:formatCode>General</c:formatCode>
                <c:ptCount val="6"/>
                <c:pt idx="0">
                  <c:v>2697267</c:v>
                </c:pt>
                <c:pt idx="1">
                  <c:v>1071286</c:v>
                </c:pt>
                <c:pt idx="2">
                  <c:v>1012403</c:v>
                </c:pt>
                <c:pt idx="3">
                  <c:v>887095</c:v>
                </c:pt>
                <c:pt idx="4">
                  <c:v>739325</c:v>
                </c:pt>
                <c:pt idx="5">
                  <c:v>44319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7763038984512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644599883420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436041380516095</c:v>
                </c:pt>
                <c:pt idx="1">
                  <c:v>6.8646935085064769</c:v>
                </c:pt>
                <c:pt idx="3">
                  <c:v>9.952661623427856</c:v>
                </c:pt>
                <c:pt idx="4">
                  <c:v>9.9328793192182019</c:v>
                </c:pt>
                <c:pt idx="6">
                  <c:v>9.28493815305697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220595720896812</c:v>
                </c:pt>
                <c:pt idx="1">
                  <c:v>4.6827120576934291</c:v>
                </c:pt>
                <c:pt idx="2">
                  <c:v>4.7849201053152859</c:v>
                </c:pt>
                <c:pt idx="3">
                  <c:v>7.1219298946378009</c:v>
                </c:pt>
                <c:pt idx="5">
                  <c:v>11.5525961701255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631371707611679</c:v>
                </c:pt>
                <c:pt idx="1">
                  <c:v>6.2390992075107601</c:v>
                </c:pt>
                <c:pt idx="2">
                  <c:v>4.7720341506998905</c:v>
                </c:pt>
                <c:pt idx="3">
                  <c:v>14.519231720385788</c:v>
                </c:pt>
                <c:pt idx="4">
                  <c:v>9.9706687220668719</c:v>
                </c:pt>
                <c:pt idx="6">
                  <c:v>9.764076261408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527210198567914</c:v>
                </c:pt>
                <c:pt idx="2">
                  <c:v>8.4988786934997762</c:v>
                </c:pt>
                <c:pt idx="3">
                  <c:v>16.246300848833435</c:v>
                </c:pt>
                <c:pt idx="5">
                  <c:v>23.1895850284784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9919205469168242</c:v>
                </c:pt>
                <c:pt idx="1">
                  <c:v>9.341065622228791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B$2:$B$8</c:f>
              <c:numCache>
                <c:formatCode>General</c:formatCode>
                <c:ptCount val="7"/>
                <c:pt idx="3">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C$2:$C$8</c:f>
              <c:numCache>
                <c:formatCode>General</c:formatCode>
                <c:ptCount val="7"/>
                <c:pt idx="0">
                  <c:v>18.054557131061479</c:v>
                </c:pt>
                <c:pt idx="6">
                  <c:v>11.9564256586405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D$2:$D$8</c:f>
              <c:numCache>
                <c:formatCode>General</c:formatCode>
                <c:ptCount val="7"/>
                <c:pt idx="1">
                  <c:v>14.4166464802289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E$2:$E$8</c:f>
              <c:numCache>
                <c:formatCode>General</c:formatCode>
                <c:ptCount val="7"/>
                <c:pt idx="3">
                  <c:v>5.0054712927508849</c:v>
                </c:pt>
                <c:pt idx="6">
                  <c:v>15.04295826372954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F$2:$F$8</c:f>
              <c:numCache>
                <c:formatCode>General</c:formatCode>
                <c:ptCount val="7"/>
                <c:pt idx="0">
                  <c:v>8.736059737144469</c:v>
                </c:pt>
                <c:pt idx="1">
                  <c:v>6.8952925986148488</c:v>
                </c:pt>
                <c:pt idx="2">
                  <c:v>3.47072492576462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G$2:$G$8</c:f>
              <c:numCache>
                <c:formatCode>General</c:formatCode>
                <c:ptCount val="7"/>
                <c:pt idx="0">
                  <c:v>6.5711845303562093</c:v>
                </c:pt>
                <c:pt idx="1">
                  <c:v>4.9763346561537256</c:v>
                </c:pt>
                <c:pt idx="2">
                  <c:v>4.8271137694176307</c:v>
                </c:pt>
                <c:pt idx="5">
                  <c:v>11.2952422427871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H$2:$H$8</c:f>
              <c:numCache>
                <c:formatCode>General</c:formatCode>
                <c:ptCount val="7"/>
                <c:pt idx="0">
                  <c:v>7.2717913419035396</c:v>
                </c:pt>
                <c:pt idx="1">
                  <c:v>6.1711126134582113</c:v>
                </c:pt>
                <c:pt idx="2">
                  <c:v>3.8505994525033147</c:v>
                </c:pt>
                <c:pt idx="4">
                  <c:v>6.60131012328323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I$2:$I$8</c:f>
              <c:numCache>
                <c:formatCode>General</c:formatCode>
                <c:ptCount val="7"/>
                <c:pt idx="0">
                  <c:v>7.1517078264154268</c:v>
                </c:pt>
                <c:pt idx="2">
                  <c:v>3.312958783497075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J$2:$J$8</c:f>
              <c:numCache>
                <c:formatCode>General</c:formatCode>
                <c:ptCount val="7"/>
                <c:pt idx="0">
                  <c:v>13.923538305546348</c:v>
                </c:pt>
                <c:pt idx="2">
                  <c:v>8.2174054814413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K$2:$K$8</c:f>
              <c:numCache>
                <c:formatCode>General</c:formatCode>
                <c:ptCount val="7"/>
                <c:pt idx="0">
                  <c:v>4.6214494920793321</c:v>
                </c:pt>
                <c:pt idx="1">
                  <c:v>9.3555108929619717</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B$2:$B$7</c:f>
              <c:numCache>
                <c:formatCode>General</c:formatCode>
                <c:ptCount val="6"/>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C$2:$C$7</c:f>
              <c:numCache>
                <c:formatCode>General</c:formatCode>
                <c:ptCount val="6"/>
                <c:pt idx="0">
                  <c:v>27.8027261431367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D$2:$D$7</c:f>
              <c:numCache>
                <c:formatCode>General</c:formatCode>
                <c:ptCount val="6"/>
                <c:pt idx="0">
                  <c:v>12.071410014304389</c:v>
                </c:pt>
                <c:pt idx="4">
                  <c:v>15.441448975579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E$2:$E$7</c:f>
              <c:numCache>
                <c:formatCode>General</c:formatCode>
                <c:ptCount val="6"/>
                <c:pt idx="0">
                  <c:v>12.44899631381338</c:v>
                </c:pt>
                <c:pt idx="1">
                  <c:v>10.227326278269619</c:v>
                </c:pt>
                <c:pt idx="2">
                  <c:v>10.086347395875576</c:v>
                </c:pt>
                <c:pt idx="3">
                  <c:v>10.309534526059997</c:v>
                </c:pt>
                <c:pt idx="4">
                  <c:v>10.296461999017632</c:v>
                </c:pt>
                <c:pt idx="5">
                  <c:v>9.1311853885026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F$2:$F$7</c:f>
              <c:numCache>
                <c:formatCode>General</c:formatCode>
                <c:ptCount val="6"/>
                <c:pt idx="1">
                  <c:v>12.4683252157122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G$2:$G$7</c:f>
              <c:numCache>
                <c:formatCode>General</c:formatCode>
                <c:ptCount val="6"/>
                <c:pt idx="0">
                  <c:v>17.319395412231142</c:v>
                </c:pt>
                <c:pt idx="2">
                  <c:v>10.174510074735663</c:v>
                </c:pt>
                <c:pt idx="3">
                  <c:v>10.202412367563268</c:v>
                </c:pt>
                <c:pt idx="4">
                  <c:v>15.661038261181965</c:v>
                </c:pt>
                <c:pt idx="5">
                  <c:v>9.64627181524756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H$2:$H$7</c:f>
              <c:numCache>
                <c:formatCode>General</c:formatCode>
                <c:ptCount val="6"/>
                <c:pt idx="0">
                  <c:v>24.161732135601454</c:v>
                </c:pt>
                <c:pt idx="1">
                  <c:v>21.9866248292140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I$2:$I$7</c:f>
              <c:numCache>
                <c:formatCode>General</c:formatCode>
                <c:ptCount val="6"/>
                <c:pt idx="3">
                  <c:v>16.9866189921836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B$2:$B$6</c:f>
              <c:numCache>
                <c:formatCode>General</c:formatCode>
                <c:ptCount val="5"/>
                <c:pt idx="1">
                  <c:v>11.746675618879868</c:v>
                </c:pt>
                <c:pt idx="2">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C$2:$C$6</c:f>
              <c:numCache>
                <c:formatCode>General</c:formatCode>
                <c:ptCount val="5"/>
                <c:pt idx="1">
                  <c:v>12.909317942172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D$2:$D$6</c:f>
              <c:numCache>
                <c:formatCode>General</c:formatCode>
                <c:ptCount val="5"/>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E$2:$E$6</c:f>
              <c:numCache>
                <c:formatCode>General</c:formatCode>
                <c:ptCount val="5"/>
                <c:pt idx="4">
                  <c:v>15.256807633637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F$2:$F$6</c:f>
              <c:numCache>
                <c:formatCode>General</c:formatCode>
                <c:ptCount val="5"/>
                <c:pt idx="0">
                  <c:v>7.9470491230369351</c:v>
                </c:pt>
                <c:pt idx="1">
                  <c:v>6.6275487588652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G$2:$G$6</c:f>
              <c:numCache>
                <c:formatCode>General</c:formatCode>
                <c:ptCount val="5"/>
                <c:pt idx="0">
                  <c:v>6.899872435495352</c:v>
                </c:pt>
                <c:pt idx="1">
                  <c:v>5.5486962733658771</c:v>
                </c:pt>
                <c:pt idx="3">
                  <c:v>9.28489452036619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H$2:$H$6</c:f>
              <c:numCache>
                <c:formatCode>General</c:formatCode>
                <c:ptCount val="5"/>
                <c:pt idx="2">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I$2:$I$6</c:f>
              <c:numCache>
                <c:formatCode>General</c:formatCode>
                <c:ptCount val="5"/>
                <c:pt idx="0">
                  <c:v>6.9253586352395038</c:v>
                </c:pt>
                <c:pt idx="1">
                  <c:v>5.883407532668410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J$2:$J$6</c:f>
              <c:numCache>
                <c:formatCode>General</c:formatCode>
                <c:ptCount val="5"/>
                <c:pt idx="0">
                  <c:v>6.6700476340741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K$2:$K$6</c:f>
              <c:numCache>
                <c:formatCode>General</c:formatCode>
                <c:ptCount val="5"/>
                <c:pt idx="0">
                  <c:v>12.172316755249277</c:v>
                </c:pt>
                <c:pt idx="3">
                  <c:v>14.0354478989734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L$2:$L$6</c:f>
              <c:numCache>
                <c:formatCode>General</c:formatCode>
                <c:ptCount val="5"/>
                <c:pt idx="1">
                  <c:v>8.857833820662767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B$2:$B$8</c:f>
              <c:numCache>
                <c:formatCode>General</c:formatCode>
                <c:ptCount val="7"/>
                <c:pt idx="4">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C$2:$C$8</c:f>
              <c:numCache>
                <c:formatCode>General</c:formatCode>
                <c:ptCount val="7"/>
                <c:pt idx="1">
                  <c:v>28.276356082172811</c:v>
                </c:pt>
                <c:pt idx="5">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D$2:$D$8</c:f>
              <c:numCache>
                <c:formatCode>General</c:formatCode>
                <c:ptCount val="7"/>
                <c:pt idx="3">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E$2:$E$8</c:f>
              <c:numCache>
                <c:formatCode>General</c:formatCode>
                <c:ptCount val="7"/>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F$2:$F$8</c:f>
              <c:numCache>
                <c:formatCode>General</c:formatCode>
                <c:ptCount val="7"/>
                <c:pt idx="0">
                  <c:v>11.802180483917052</c:v>
                </c:pt>
                <c:pt idx="1">
                  <c:v>8.9010760466588295</c:v>
                </c:pt>
                <c:pt idx="5">
                  <c:v>9.89935322593444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G$2:$G$8</c:f>
              <c:numCache>
                <c:formatCode>General</c:formatCode>
                <c:ptCount val="7"/>
                <c:pt idx="1">
                  <c:v>10.2818921969207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H$2:$H$8</c:f>
              <c:numCache>
                <c:formatCode>General</c:formatCode>
                <c:ptCount val="7"/>
                <c:pt idx="0">
                  <c:v>17.788727415915591</c:v>
                </c:pt>
                <c:pt idx="2">
                  <c:v>16.227252812730011</c:v>
                </c:pt>
                <c:pt idx="4">
                  <c:v>14.54677989681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I$2:$I$8</c:f>
              <c:numCache>
                <c:formatCode>General</c:formatCode>
                <c:ptCount val="7"/>
                <c:pt idx="2">
                  <c:v>15.977025338235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J$2:$J$8</c:f>
              <c:numCache>
                <c:formatCode>General</c:formatCode>
                <c:ptCount val="7"/>
                <c:pt idx="0">
                  <c:v>23.095136259943793</c:v>
                </c:pt>
                <c:pt idx="1">
                  <c:v>16.36813276807106</c:v>
                </c:pt>
                <c:pt idx="2">
                  <c:v>17.357521498409707</c:v>
                </c:pt>
                <c:pt idx="3">
                  <c:v>10.356920746749894</c:v>
                </c:pt>
                <c:pt idx="4">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K$2:$K$8</c:f>
              <c:numCache>
                <c:formatCode>General</c:formatCode>
                <c:ptCount val="7"/>
                <c:pt idx="0">
                  <c:v>21.943647347555221</c:v>
                </c:pt>
                <c:pt idx="1">
                  <c:v>22.957207396806691</c:v>
                </c:pt>
                <c:pt idx="6">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1912132460333851</c:v>
                </c:pt>
                <c:pt idx="2">
                  <c:v>12.156175414248786</c:v>
                </c:pt>
                <c:pt idx="4">
                  <c:v>13.705593845994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504098790769266</c:v>
                </c:pt>
                <c:pt idx="1">
                  <c:v>8.0906891240997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94091779558833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14513105126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774358105134834</c:v>
                </c:pt>
                <c:pt idx="4">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665875743195331</c:v>
                </c:pt>
                <c:pt idx="1">
                  <c:v>13.946127992985923</c:v>
                </c:pt>
                <c:pt idx="2">
                  <c:v>11.537165123005963</c:v>
                </c:pt>
                <c:pt idx="3">
                  <c:v>12.128967559135335</c:v>
                </c:pt>
                <c:pt idx="4">
                  <c:v>12.1459337593263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211391283331992</c:v>
                </c:pt>
                <c:pt idx="4">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340939332254319</c:v>
                </c:pt>
                <c:pt idx="2">
                  <c:v>12.001885592593688</c:v>
                </c:pt>
                <c:pt idx="3">
                  <c:v>10.851963768709204</c:v>
                </c:pt>
                <c:pt idx="4">
                  <c:v>19.49858748749337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10208147155198</c:v>
                </c:pt>
                <c:pt idx="1">
                  <c:v>28.415660496424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17365269461078</c:v>
                </c:pt>
                <c:pt idx="2">
                  <c:v>18.26923076923077</c:v>
                </c:pt>
                <c:pt idx="3">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911269675674435</c:v>
                </c:pt>
                <c:pt idx="3">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896421357460978</c:v>
                </c:pt>
                <c:pt idx="5">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468227020024056</c:v>
                </c:pt>
                <c:pt idx="1">
                  <c:v>6.87437770651828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984756309451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521271522480868</c:v>
                </c:pt>
                <c:pt idx="1">
                  <c:v>4.6050395997530442</c:v>
                </c:pt>
                <c:pt idx="2">
                  <c:v>4.761017974064786</c:v>
                </c:pt>
                <c:pt idx="6">
                  <c:v>10.45227806146722</c:v>
                </c:pt>
                <c:pt idx="7">
                  <c:v>10.1136826650581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472062228245523</c:v>
                </c:pt>
                <c:pt idx="1">
                  <c:v>6.2395267750954853</c:v>
                </c:pt>
                <c:pt idx="2">
                  <c:v>3.6766425531089606</c:v>
                </c:pt>
                <c:pt idx="4">
                  <c:v>5.97221979917411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0933995247536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514823613521102</c:v>
                </c:pt>
                <c:pt idx="2">
                  <c:v>8.25088492172087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375074873301352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2684809600996507</c:v>
                </c:pt>
                <c:pt idx="1">
                  <c:v>9.268518139633851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069904268084708</c:v>
                </c:pt>
                <c:pt idx="1">
                  <c:v>9.9189749301666783</c:v>
                </c:pt>
                <c:pt idx="2">
                  <c:v>10.17877306763623</c:v>
                </c:pt>
                <c:pt idx="3">
                  <c:v>9.2833767303155739</c:v>
                </c:pt>
                <c:pt idx="4">
                  <c:v>9.9504224673469732</c:v>
                </c:pt>
                <c:pt idx="5">
                  <c:v>5.7501761566008049</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8222816480402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24917799930115</c:v>
                </c:pt>
                <c:pt idx="1">
                  <c:v>9.9711573332034629</c:v>
                </c:pt>
                <c:pt idx="3">
                  <c:v>9.7228079652237973</c:v>
                </c:pt>
                <c:pt idx="4">
                  <c:v>14.532611257646332</c:v>
                </c:pt>
                <c:pt idx="5">
                  <c:v>6.96420501125197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690856018548455</c:v>
                </c:pt>
                <c:pt idx="2">
                  <c:v>23.058122603951638</c:v>
                </c:pt>
                <c:pt idx="4">
                  <c:v>18.225229603807737</c:v>
                </c:pt>
                <c:pt idx="5">
                  <c:v>9.00589046944318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92719741613259</c:v>
                </c:pt>
                <c:pt idx="3">
                  <c:v>16.914058625460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B$2:$B$6</c:f>
              <c:numCache>
                <c:formatCode>General</c:formatCode>
                <c:ptCount val="5"/>
                <c:pt idx="1">
                  <c:v>11.027916585243293</c:v>
                </c:pt>
                <c:pt idx="2">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C$2:$C$6</c:f>
              <c:numCache>
                <c:formatCode>General</c:formatCode>
                <c:ptCount val="5"/>
                <c:pt idx="1">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D$2:$D$6</c:f>
              <c:numCache>
                <c:formatCode>General</c:formatCode>
                <c:ptCount val="5"/>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E$2:$E$6</c:f>
              <c:numCache>
                <c:formatCode>General</c:formatCode>
                <c:ptCount val="5"/>
                <c:pt idx="0">
                  <c:v>11.5953085730242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F$2:$F$6</c:f>
              <c:numCache>
                <c:formatCode>General</c:formatCode>
                <c:ptCount val="5"/>
                <c:pt idx="4">
                  <c:v>15.256807633637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G$2:$G$6</c:f>
              <c:numCache>
                <c:formatCode>General</c:formatCode>
                <c:ptCount val="5"/>
                <c:pt idx="0">
                  <c:v>7.1842048003213606</c:v>
                </c:pt>
                <c:pt idx="1">
                  <c:v>6.5853873239436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H$2:$H$6</c:f>
              <c:numCache>
                <c:formatCode>General</c:formatCode>
                <c:ptCount val="5"/>
                <c:pt idx="0">
                  <c:v>6.9138319741247392</c:v>
                </c:pt>
                <c:pt idx="3">
                  <c:v>9.28489452036619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I$2:$I$6</c:f>
              <c:numCache>
                <c:formatCode>General</c:formatCode>
                <c:ptCount val="5"/>
                <c:pt idx="2">
                  <c:v>9.78059286166561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J$2:$J$6</c:f>
              <c:numCache>
                <c:formatCode>General</c:formatCode>
                <c:ptCount val="5"/>
                <c:pt idx="0">
                  <c:v>6.9148874211001736</c:v>
                </c:pt>
                <c:pt idx="1">
                  <c:v>5.396139179817291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K$2:$K$6</c:f>
              <c:numCache>
                <c:formatCode>General</c:formatCode>
                <c:ptCount val="5"/>
                <c:pt idx="0">
                  <c:v>6.6700476340741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L$2:$L$6</c:f>
              <c:numCache>
                <c:formatCode>General</c:formatCode>
                <c:ptCount val="5"/>
                <c:pt idx="0">
                  <c:v>12.171869868585258</c:v>
                </c:pt>
                <c:pt idx="3">
                  <c:v>14.16186340307935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M$2:$M$6</c:f>
              <c:numCache>
                <c:formatCode>General</c:formatCode>
                <c:ptCount val="5"/>
                <c:pt idx="0">
                  <c:v>10.291737629459149</c:v>
                </c:pt>
                <c:pt idx="1">
                  <c:v>8.325554595217516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N$2:$N$6</c:f>
              <c:numCache>
                <c:formatCode>General</c:formatCode>
                <c:ptCount val="5"/>
                <c:pt idx="3">
                  <c:v>25.91693621425799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BE929C-A7D7-48A0-8582-08B7525CF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D5F3FB-F8FE-4575-BB2F-C04DDA6A8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F4C4AE-2E2B-4B21-BE59-68CA01BED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8A6143-A4D3-4C8E-8203-BC5846FAB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0B7E45-3352-46F1-B061-F8C6F3F52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FA9F8C-AA1D-4314-AA8C-F0D9A0D77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8C7C15-56DF-4465-9E94-79D050CB5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25E93A-DA2E-4B8B-BA3F-66FC03CE2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064660950743558</c:v>
                </c:pt>
                <c:pt idx="1">
                  <c:v>6.3366720258233977</c:v>
                </c:pt>
                <c:pt idx="2">
                  <c:v>4.398818924721839</c:v>
                </c:pt>
                <c:pt idx="3">
                  <c:v>10.215596032391909</c:v>
                </c:pt>
                <c:pt idx="4">
                  <c:v>10.773804865617221</c:v>
                </c:pt>
                <c:pt idx="5">
                  <c:v>12.50301454471639</c:v>
                </c:pt>
                <c:pt idx="6">
                  <c:v>10.51602266153427</c:v>
                </c:pt>
                <c:pt idx="7">
                  <c:v>3.839040201297133</c:v>
                </c:pt>
                <c:pt idx="8">
                  <c:v>6.7900148355979866</c:v>
                </c:pt>
              </c:numCache>
            </c:numRef>
          </c:xVal>
          <c:yVal>
            <c:numRef>
              <c:f>Sheet1!$B$2:$B$10</c:f>
              <c:numCache>
                <c:formatCode>General</c:formatCode>
                <c:ptCount val="9"/>
                <c:pt idx="0">
                  <c:v>1.6458927214754591</c:v>
                </c:pt>
                <c:pt idx="1">
                  <c:v>1.0193189761302719</c:v>
                </c:pt>
                <c:pt idx="2">
                  <c:v>0.63673671814970201</c:v>
                </c:pt>
                <c:pt idx="3">
                  <c:v>1.9640515675610419</c:v>
                </c:pt>
                <c:pt idx="4">
                  <c:v>1.8230336920210399</c:v>
                </c:pt>
                <c:pt idx="5">
                  <c:v>2.430863480860844</c:v>
                </c:pt>
                <c:pt idx="6">
                  <c:v>1.6157492730826191</c:v>
                </c:pt>
                <c:pt idx="7">
                  <c:v>0.1720312384849573</c:v>
                </c:pt>
                <c:pt idx="8">
                  <c:v>0.86462764490500188</c:v>
                </c:pt>
              </c:numCache>
            </c:numRef>
          </c:yVal>
          <c:bubbleSize>
            <c:numRef>
              <c:f>Sheet1!$C$2:$C$10</c:f>
              <c:numCache>
                <c:formatCode>General</c:formatCode>
                <c:ptCount val="9"/>
                <c:pt idx="0">
                  <c:v>136083418</c:v>
                </c:pt>
                <c:pt idx="1">
                  <c:v>43839486</c:v>
                </c:pt>
                <c:pt idx="2">
                  <c:v>42521689</c:v>
                </c:pt>
                <c:pt idx="3">
                  <c:v>29574600</c:v>
                </c:pt>
                <c:pt idx="4">
                  <c:v>27479128</c:v>
                </c:pt>
                <c:pt idx="5">
                  <c:v>27409171</c:v>
                </c:pt>
                <c:pt idx="6">
                  <c:v>20486758</c:v>
                </c:pt>
                <c:pt idx="7">
                  <c:v>15916319</c:v>
                </c:pt>
                <c:pt idx="8">
                  <c:v>546932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03DDB3-8A08-483B-A707-8B33E414A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692818-8A04-422F-9241-184D180E4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8B373B-C6D3-43C5-82D7-5F86BB05B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A180D9-BD43-4AB8-A69F-5576BAADE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8B0E51-39A0-41D4-B0FA-9E9E229BD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C07D87-8EAD-46E2-A0A1-A8CE66590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C88D3E-06F9-4322-A725-4E85D1484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6AB52-6B92-4220-8D96-07205CD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505501324854727</c:v>
                </c:pt>
                <c:pt idx="1">
                  <c:v>6.2724648060367141</c:v>
                </c:pt>
                <c:pt idx="2">
                  <c:v>4.0978770474230366</c:v>
                </c:pt>
                <c:pt idx="3">
                  <c:v>3.8434883735872569</c:v>
                </c:pt>
                <c:pt idx="4">
                  <c:v>6.8325688073394497</c:v>
                </c:pt>
                <c:pt idx="5">
                  <c:v>14.98502673796791</c:v>
                </c:pt>
                <c:pt idx="6">
                  <c:v>11.21381801185494</c:v>
                </c:pt>
                <c:pt idx="7">
                  <c:v>10.09981156362382</c:v>
                </c:pt>
              </c:numCache>
            </c:numRef>
          </c:xVal>
          <c:yVal>
            <c:numRef>
              <c:f>Sheet1!$B$2:$B$9</c:f>
              <c:numCache>
                <c:formatCode>General</c:formatCode>
                <c:ptCount val="8"/>
                <c:pt idx="0">
                  <c:v>1.7029575689767</c:v>
                </c:pt>
                <c:pt idx="1">
                  <c:v>1.631866064255981</c:v>
                </c:pt>
                <c:pt idx="2">
                  <c:v>0.9146678218669263</c:v>
                </c:pt>
                <c:pt idx="3">
                  <c:v>0.26777591308005172</c:v>
                </c:pt>
                <c:pt idx="4">
                  <c:v>1.3480988576625199</c:v>
                </c:pt>
                <c:pt idx="5">
                  <c:v>0.78665734038483226</c:v>
                </c:pt>
                <c:pt idx="6">
                  <c:v>3.1480858050323448</c:v>
                </c:pt>
                <c:pt idx="7">
                  <c:v>3.1811806121054369</c:v>
                </c:pt>
              </c:numCache>
            </c:numRef>
          </c:yVal>
          <c:bubbleSize>
            <c:numRef>
              <c:f>Sheet1!$C$2:$C$9</c:f>
              <c:numCache>
                <c:formatCode>General</c:formatCode>
                <c:ptCount val="8"/>
                <c:pt idx="0">
                  <c:v>48922879</c:v>
                </c:pt>
                <c:pt idx="1">
                  <c:v>34052672</c:v>
                </c:pt>
                <c:pt idx="2">
                  <c:v>28040490</c:v>
                </c:pt>
                <c:pt idx="3">
                  <c:v>12561969</c:v>
                </c:pt>
                <c:pt idx="4">
                  <c:v>4394025</c:v>
                </c:pt>
                <c:pt idx="5">
                  <c:v>3138464</c:v>
                </c:pt>
                <c:pt idx="6">
                  <c:v>2639116</c:v>
                </c:pt>
                <c:pt idx="7">
                  <c:v>152218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B$2:$B$8</c:f>
              <c:numCache>
                <c:formatCode>General</c:formatCode>
                <c:ptCount val="7"/>
                <c:pt idx="4">
                  <c:v>9.849046096996501</c:v>
                </c:pt>
                <c:pt idx="6">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C$2:$C$8</c:f>
              <c:numCache>
                <c:formatCode>General</c:formatCode>
                <c:ptCount val="7"/>
                <c:pt idx="2">
                  <c:v>19.11877650994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D$2:$D$8</c:f>
              <c:numCache>
                <c:formatCode>General</c:formatCode>
                <c:ptCount val="7"/>
                <c:pt idx="0">
                  <c:v>10.805185059382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E$2:$E$8</c:f>
              <c:numCache>
                <c:formatCode>General</c:formatCode>
                <c:ptCount val="7"/>
                <c:pt idx="0">
                  <c:v>11.60168982398732</c:v>
                </c:pt>
                <c:pt idx="3">
                  <c:v>8.8702207413577678</c:v>
                </c:pt>
                <c:pt idx="4">
                  <c:v>9.92895307893874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F$2:$F$8</c:f>
              <c:numCache>
                <c:formatCode>General</c:formatCode>
                <c:ptCount val="7"/>
                <c:pt idx="0">
                  <c:v>17.720013953812881</c:v>
                </c:pt>
                <c:pt idx="1">
                  <c:v>16.396866828110575</c:v>
                </c:pt>
                <c:pt idx="3">
                  <c:v>21.267726676077967</c:v>
                </c:pt>
                <c:pt idx="5">
                  <c:v>14.519237344381649</c:v>
                </c:pt>
                <c:pt idx="6">
                  <c:v>11.35090851324568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G$2:$G$8</c:f>
              <c:numCache>
                <c:formatCode>General</c:formatCode>
                <c:ptCount val="7"/>
                <c:pt idx="1">
                  <c:v>15.960438617314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H$2:$H$8</c:f>
              <c:numCache>
                <c:formatCode>General</c:formatCode>
                <c:ptCount val="7"/>
                <c:pt idx="0">
                  <c:v>23.146536197295148</c:v>
                </c:pt>
                <c:pt idx="1">
                  <c:v>17.383324091344456</c:v>
                </c:pt>
                <c:pt idx="2">
                  <c:v>10.364196847876865</c:v>
                </c:pt>
                <c:pt idx="3">
                  <c:v>17.084450402144771</c:v>
                </c:pt>
                <c:pt idx="5">
                  <c:v>14.8210705993706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I$2:$I$8</c:f>
              <c:numCache>
                <c:formatCode>General</c:formatCode>
                <c:ptCount val="7"/>
                <c:pt idx="0">
                  <c:v>21.850523408901161</c:v>
                </c:pt>
                <c:pt idx="3">
                  <c:v>23.0929504921899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1912132460333851</c:v>
                </c:pt>
                <c:pt idx="2">
                  <c:v>12.156175414248786</c:v>
                </c:pt>
                <c:pt idx="4">
                  <c:v>13.705593845994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504098790769266</c:v>
                </c:pt>
                <c:pt idx="1">
                  <c:v>8.0906891240997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94091779558833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14513105126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774358105134834</c:v>
                </c:pt>
                <c:pt idx="4">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665875743195331</c:v>
                </c:pt>
                <c:pt idx="1">
                  <c:v>13.946127992985923</c:v>
                </c:pt>
                <c:pt idx="2">
                  <c:v>11.537165123005963</c:v>
                </c:pt>
                <c:pt idx="3">
                  <c:v>12.128967559135335</c:v>
                </c:pt>
                <c:pt idx="4">
                  <c:v>12.1459337593263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211391283331992</c:v>
                </c:pt>
                <c:pt idx="4">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340939332254319</c:v>
                </c:pt>
                <c:pt idx="2">
                  <c:v>12.001885592593688</c:v>
                </c:pt>
                <c:pt idx="3">
                  <c:v>10.851963768709204</c:v>
                </c:pt>
                <c:pt idx="4">
                  <c:v>19.49858748749337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10208147155198</c:v>
                </c:pt>
                <c:pt idx="1">
                  <c:v>28.415660496424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17365269461078</c:v>
                </c:pt>
                <c:pt idx="2">
                  <c:v>18.26923076923077</c:v>
                </c:pt>
                <c:pt idx="3">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5014496178996297</c:v>
                </c:pt>
                <c:pt idx="3">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5.0124115323580174</c:v>
                </c:pt>
                <c:pt idx="5">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2">
                  <c:v>2.00019203008912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0">
                  <c:v>7.9909406910009961</c:v>
                </c:pt>
                <c:pt idx="1">
                  <c:v>6.90900132551974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3">
                  <c:v>9.07477060052693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1456105819477829</c:v>
                </c:pt>
                <c:pt idx="1">
                  <c:v>4.6590362016305331</c:v>
                </c:pt>
                <c:pt idx="2">
                  <c:v>4.7976955141357642</c:v>
                </c:pt>
                <c:pt idx="6">
                  <c:v>10.5803565422132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6395725877870939</c:v>
                </c:pt>
                <c:pt idx="1">
                  <c:v>6.3348044369038821</c:v>
                </c:pt>
                <c:pt idx="2">
                  <c:v>3.718020433431017</c:v>
                </c:pt>
                <c:pt idx="4">
                  <c:v>6.0548109199314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6.813564806575307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13.635472576075188</c:v>
                </c:pt>
                <c:pt idx="2">
                  <c:v>8.34941541887654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K$2:$K$8</c:f>
              <c:numCache>
                <c:formatCode>General</c:formatCode>
                <c:ptCount val="7"/>
                <c:pt idx="0">
                  <c:v>4.2889499592305134</c:v>
                </c:pt>
                <c:pt idx="1">
                  <c:v>9.331703956742883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B$2:$B$7</c:f>
              <c:numCache>
                <c:formatCode>General</c:formatCode>
                <c:ptCount val="6"/>
                <c:pt idx="3">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C$2:$C$7</c:f>
              <c:numCache>
                <c:formatCode>General</c:formatCode>
                <c:ptCount val="6"/>
                <c:pt idx="0">
                  <c:v>11.984586343096131</c:v>
                </c:pt>
                <c:pt idx="1">
                  <c:v>10.257570761198131</c:v>
                </c:pt>
                <c:pt idx="2">
                  <c:v>9.9210495405549484</c:v>
                </c:pt>
                <c:pt idx="3">
                  <c:v>9.9705962428532526</c:v>
                </c:pt>
                <c:pt idx="4">
                  <c:v>9.2889149789648755</c:v>
                </c:pt>
                <c:pt idx="5">
                  <c:v>5.8510059171597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D$2:$D$7</c:f>
              <c:numCache>
                <c:formatCode>General</c:formatCode>
                <c:ptCount val="6"/>
                <c:pt idx="1">
                  <c:v>11.874002128791911</c:v>
                </c:pt>
                <c:pt idx="3">
                  <c:v>8.8984687083888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E$2:$E$7</c:f>
              <c:numCache>
                <c:formatCode>General</c:formatCode>
                <c:ptCount val="6"/>
                <c:pt idx="0">
                  <c:v>16.493061688927419</c:v>
                </c:pt>
                <c:pt idx="2">
                  <c:v>9.9828078170546455</c:v>
                </c:pt>
                <c:pt idx="3">
                  <c:v>14.621397110842329</c:v>
                </c:pt>
                <c:pt idx="4">
                  <c:v>9.9877664829330897</c:v>
                </c:pt>
                <c:pt idx="5">
                  <c:v>7.02021180154936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F$2:$F$7</c:f>
              <c:numCache>
                <c:formatCode>General</c:formatCode>
                <c:ptCount val="6"/>
                <c:pt idx="0">
                  <c:v>23.623970722781337</c:v>
                </c:pt>
                <c:pt idx="1">
                  <c:v>23.205772580243842</c:v>
                </c:pt>
                <c:pt idx="3">
                  <c:v>18.504284830815443</c:v>
                </c:pt>
                <c:pt idx="5">
                  <c:v>9.15709859154929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G$2:$G$7</c:f>
              <c:numCache>
                <c:formatCode>General</c:formatCode>
                <c:ptCount val="6"/>
                <c:pt idx="2">
                  <c:v>17.026376200515344</c:v>
                </c:pt>
                <c:pt idx="4">
                  <c:v>17.012467191601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4908662938075885</c:v>
                </c:pt>
                <c:pt idx="3">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96018276762402</c:v>
                </c:pt>
                <c:pt idx="5">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0">
                  <c:v>7.8716797579236868</c:v>
                </c:pt>
                <c:pt idx="1">
                  <c:v>6.78247452818952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3">
                  <c:v>8.9609667122663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0">
                  <c:v>5.8637974256375642</c:v>
                </c:pt>
                <c:pt idx="1">
                  <c:v>4.5310346873539862</c:v>
                </c:pt>
                <c:pt idx="2">
                  <c:v>5.0709176456425125</c:v>
                </c:pt>
                <c:pt idx="6">
                  <c:v>10.4480888103948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6589937585230254</c:v>
                </c:pt>
                <c:pt idx="1">
                  <c:v>5.7274180856229178</c:v>
                </c:pt>
                <c:pt idx="2">
                  <c:v>3.6787419080625123</c:v>
                </c:pt>
                <c:pt idx="4">
                  <c:v>5.935957670026912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9473797621099811</c:v>
                </c:pt>
                <c:pt idx="2">
                  <c:v>1.0648497923612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13.52712198386437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4.02734375</c:v>
                </c:pt>
                <c:pt idx="1">
                  <c:v>9.28857167038113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Hydro Silk</c:v>
                </c:pt>
                <c:pt idx="4">
                  <c:v>Joy</c:v>
                </c:pt>
                <c:pt idx="5">
                  <c:v>Pbg Pl</c:v>
                </c:pt>
              </c:strCache>
            </c:strRef>
          </c:cat>
          <c:val>
            <c:numRef>
              <c:f>Sheet1!$B$2:$B$7</c:f>
              <c:numCache>
                <c:formatCode>General</c:formatCode>
                <c:ptCount val="6"/>
                <c:pt idx="3">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C$2:$C$7</c:f>
              <c:numCache>
                <c:formatCode>General</c:formatCode>
                <c:ptCount val="6"/>
                <c:pt idx="0">
                  <c:v>11.352756705618528</c:v>
                </c:pt>
                <c:pt idx="1">
                  <c:v>9.9684294909579609</c:v>
                </c:pt>
                <c:pt idx="3">
                  <c:v>9.9544230004858019</c:v>
                </c:pt>
                <c:pt idx="4">
                  <c:v>9.0508229589219944</c:v>
                </c:pt>
                <c:pt idx="5">
                  <c:v>5.73933272809804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D$2:$D$7</c:f>
              <c:numCache>
                <c:formatCode>General</c:formatCode>
                <c:ptCount val="6"/>
                <c:pt idx="2">
                  <c:v>11.4987929331723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E$2:$E$7</c:f>
              <c:numCache>
                <c:formatCode>General</c:formatCode>
                <c:ptCount val="6"/>
                <c:pt idx="0">
                  <c:v>16.117778451425561</c:v>
                </c:pt>
                <c:pt idx="1">
                  <c:v>9.9699122517164156</c:v>
                </c:pt>
                <c:pt idx="3">
                  <c:v>14.540437412750116</c:v>
                </c:pt>
                <c:pt idx="4">
                  <c:v>9.5989785449841651</c:v>
                </c:pt>
                <c:pt idx="5">
                  <c:v>6.92421500316713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F$2:$F$7</c:f>
              <c:numCache>
                <c:formatCode>General</c:formatCode>
                <c:ptCount val="6"/>
                <c:pt idx="0">
                  <c:v>23.350410708853058</c:v>
                </c:pt>
                <c:pt idx="2">
                  <c:v>23.306285334220153</c:v>
                </c:pt>
                <c:pt idx="5">
                  <c:v>8.98701467341903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Hydro Silk</c:v>
                </c:pt>
                <c:pt idx="4">
                  <c:v>Joy</c:v>
                </c:pt>
                <c:pt idx="5">
                  <c:v>Pbg Pl</c:v>
                </c:pt>
              </c:strCache>
            </c:strRef>
          </c:cat>
          <c:val>
            <c:numRef>
              <c:f>Sheet1!$G$2:$G$7</c:f>
              <c:numCache>
                <c:formatCode>General</c:formatCode>
                <c:ptCount val="6"/>
                <c:pt idx="1">
                  <c:v>16.879865449303221</c:v>
                </c:pt>
                <c:pt idx="4">
                  <c:v>16.89952857984678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888280877591851</c:v>
                </c:pt>
                <c:pt idx="3">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859747607625078</c:v>
                </c:pt>
                <c:pt idx="5">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453898764879334</c:v>
                </c:pt>
                <c:pt idx="1">
                  <c:v>6.8747657798096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8620818081831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948200528765872</c:v>
                </c:pt>
                <c:pt idx="1">
                  <c:v>4.6026247974733536</c:v>
                </c:pt>
                <c:pt idx="2">
                  <c:v>4.7334310769296506</c:v>
                </c:pt>
                <c:pt idx="6">
                  <c:v>10.434173086601371</c:v>
                </c:pt>
                <c:pt idx="7">
                  <c:v>10.0998115636238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478665478885413</c:v>
                </c:pt>
                <c:pt idx="1">
                  <c:v>6.2574329208668855</c:v>
                </c:pt>
                <c:pt idx="2">
                  <c:v>3.6698529955568704</c:v>
                </c:pt>
                <c:pt idx="4">
                  <c:v>5.9608373751157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2551418525119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89302002612206</c:v>
                </c:pt>
                <c:pt idx="2">
                  <c:v>8.237364075458314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41290402323713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2844159329553602</c:v>
                </c:pt>
                <c:pt idx="1">
                  <c:v>9.256001068058296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115860439720565</c:v>
                </c:pt>
                <c:pt idx="1">
                  <c:v>9.9166174496644288</c:v>
                </c:pt>
                <c:pt idx="2">
                  <c:v>10.170786383282243</c:v>
                </c:pt>
                <c:pt idx="3">
                  <c:v>9.2934581361859703</c:v>
                </c:pt>
                <c:pt idx="4">
                  <c:v>9.9472895640412027</c:v>
                </c:pt>
                <c:pt idx="5">
                  <c:v>5.7358688046301456</c:v>
                </c:pt>
                <c:pt idx="6">
                  <c:v>9.99697190118268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8343845854377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224869331961926</c:v>
                </c:pt>
                <c:pt idx="1">
                  <c:v>9.9700878895583678</c:v>
                </c:pt>
                <c:pt idx="3">
                  <c:v>9.7009226847307879</c:v>
                </c:pt>
                <c:pt idx="4">
                  <c:v>14.51866726674935</c:v>
                </c:pt>
                <c:pt idx="5">
                  <c:v>6.95910855028295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715583946202585</c:v>
                </c:pt>
                <c:pt idx="2">
                  <c:v>23.034764162061652</c:v>
                </c:pt>
                <c:pt idx="4">
                  <c:v>18.202597817007817</c:v>
                </c:pt>
                <c:pt idx="5">
                  <c:v>8.98724718358474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319557535719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4046275395033856</c:v>
                </c:pt>
                <c:pt idx="2">
                  <c:v>12.33106960950764</c:v>
                </c:pt>
                <c:pt idx="4">
                  <c:v>13.5352112676056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6109567571418388</c:v>
                </c:pt>
                <c:pt idx="1">
                  <c:v>8.17680938926320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03797838153666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09188882586500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72E286-83A4-471D-BBD6-AF5A30EA9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C8DBD0-A502-4C5D-A380-626E4C684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93DFD2-D52B-4416-829B-72CEB79EC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EDF723-6FE9-4C8D-B4B0-48294652C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334363-BBE4-4C8F-A9BB-BC6262F74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5C322D-2673-40F6-B896-9AE1C3086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C39792-045B-4157-B2DE-264AC17FD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30E08E-8213-46CF-A105-B27C0E200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60007314258028</c:v>
                </c:pt>
                <c:pt idx="1">
                  <c:v>10.79258616907077</c:v>
                </c:pt>
                <c:pt idx="2">
                  <c:v>12.7519993040753</c:v>
                </c:pt>
                <c:pt idx="3">
                  <c:v>10.52456315706084</c:v>
                </c:pt>
                <c:pt idx="4">
                  <c:v>12.830543539912769</c:v>
                </c:pt>
                <c:pt idx="5">
                  <c:v>7.1032450233452318</c:v>
                </c:pt>
                <c:pt idx="6">
                  <c:v>10.91927698317218</c:v>
                </c:pt>
                <c:pt idx="7">
                  <c:v>8.5498795301676545</c:v>
                </c:pt>
              </c:numCache>
            </c:numRef>
          </c:xVal>
          <c:yVal>
            <c:numRef>
              <c:f>Sheet1!$B$2:$B$9</c:f>
              <c:numCache>
                <c:formatCode>General</c:formatCode>
                <c:ptCount val="8"/>
                <c:pt idx="0">
                  <c:v>1.337769404287366</c:v>
                </c:pt>
                <c:pt idx="1">
                  <c:v>0.84708927965607028</c:v>
                </c:pt>
                <c:pt idx="2">
                  <c:v>1.1505006248188521</c:v>
                </c:pt>
                <c:pt idx="3">
                  <c:v>0.75069058941131339</c:v>
                </c:pt>
                <c:pt idx="4">
                  <c:v>1.3066503006988961</c:v>
                </c:pt>
                <c:pt idx="5">
                  <c:v>0.51884551360944742</c:v>
                </c:pt>
                <c:pt idx="6">
                  <c:v>0.86876499685127384</c:v>
                </c:pt>
                <c:pt idx="7">
                  <c:v>0.31049711730417812</c:v>
                </c:pt>
              </c:numCache>
            </c:numRef>
          </c:yVal>
          <c:bubbleSize>
            <c:numRef>
              <c:f>Sheet1!$C$2:$C$9</c:f>
              <c:numCache>
                <c:formatCode>General</c:formatCode>
                <c:ptCount val="8"/>
                <c:pt idx="0">
                  <c:v>62677895</c:v>
                </c:pt>
                <c:pt idx="1">
                  <c:v>23908147</c:v>
                </c:pt>
                <c:pt idx="2">
                  <c:v>21548813</c:v>
                </c:pt>
                <c:pt idx="3">
                  <c:v>17868677</c:v>
                </c:pt>
                <c:pt idx="4">
                  <c:v>14952446</c:v>
                </c:pt>
                <c:pt idx="5">
                  <c:v>6887143</c:v>
                </c:pt>
                <c:pt idx="6">
                  <c:v>4411104</c:v>
                </c:pt>
                <c:pt idx="7">
                  <c:v>170330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0">
                  <c:v>13.217967599410898</c:v>
                </c:pt>
                <c:pt idx="4">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14.575242910182478</c:v>
                </c:pt>
                <c:pt idx="1">
                  <c:v>13.955336617405584</c:v>
                </c:pt>
                <c:pt idx="2">
                  <c:v>12.053743683968765</c:v>
                </c:pt>
                <c:pt idx="3">
                  <c:v>11.62807312460601</c:v>
                </c:pt>
                <c:pt idx="4">
                  <c:v>12.2655844155844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1">
                  <c:v>17.422718282000567</c:v>
                </c:pt>
                <c:pt idx="4">
                  <c:v>12.169066666666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1.395968448729185</c:v>
                </c:pt>
                <c:pt idx="2">
                  <c:v>10.676574307304787</c:v>
                </c:pt>
                <c:pt idx="3">
                  <c:v>12.10787269681742</c:v>
                </c:pt>
                <c:pt idx="4">
                  <c:v>20.015453960077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F$2:$F$7</c:f>
              <c:numCache>
                <c:formatCode>General</c:formatCode>
                <c:ptCount val="6"/>
                <c:pt idx="5">
                  <c:v>12.81547619047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G$2:$G$7</c:f>
              <c:numCache>
                <c:formatCode>General</c:formatCode>
                <c:ptCount val="6"/>
                <c:pt idx="0">
                  <c:v>26.914019483269801</c:v>
                </c:pt>
                <c:pt idx="1">
                  <c:v>28.5671077504725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H$2:$H$7</c:f>
              <c:numCache>
                <c:formatCode>General</c:formatCode>
                <c:ptCount val="6"/>
                <c:pt idx="0">
                  <c:v>24.663780663780663</c:v>
                </c:pt>
                <c:pt idx="2">
                  <c:v>19.742857142857144</c:v>
                </c:pt>
                <c:pt idx="3">
                  <c:v>18.4068071312803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6560195621441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2436305019477896</c:v>
                </c:pt>
                <c:pt idx="2">
                  <c:v>12.291387559808612</c:v>
                </c:pt>
                <c:pt idx="4">
                  <c:v>13.8302766552688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6112823931339051</c:v>
                </c:pt>
                <c:pt idx="1">
                  <c:v>8.1537736533023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10088298685948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27729684445685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3.1294738649043</c:v>
                </c:pt>
                <c:pt idx="4">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848313578791144</c:v>
                </c:pt>
                <c:pt idx="1">
                  <c:v>14.25393334461174</c:v>
                </c:pt>
                <c:pt idx="2">
                  <c:v>11.672558922558922</c:v>
                </c:pt>
                <c:pt idx="3">
                  <c:v>12.188056159778524</c:v>
                </c:pt>
                <c:pt idx="4">
                  <c:v>12.411541632316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389351576442593</c:v>
                </c:pt>
                <c:pt idx="4">
                  <c:v>12.09490538573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576629424803528</c:v>
                </c:pt>
                <c:pt idx="2">
                  <c:v>12.201212121212121</c:v>
                </c:pt>
                <c:pt idx="3">
                  <c:v>11.111595846784748</c:v>
                </c:pt>
                <c:pt idx="4">
                  <c:v>19.3728695652173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8292873923257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528973702583198</c:v>
                </c:pt>
                <c:pt idx="1">
                  <c:v>28.64912944738834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752068965517243</c:v>
                </c:pt>
                <c:pt idx="2">
                  <c:v>18.457153642884109</c:v>
                </c:pt>
                <c:pt idx="3">
                  <c:v>19.9206830074359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697063429913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662018321403405</c:v>
                </c:pt>
                <c:pt idx="2">
                  <c:v>12.058063978673776</c:v>
                </c:pt>
                <c:pt idx="4">
                  <c:v>13.5076730347635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0602039562599828</c:v>
                </c:pt>
                <c:pt idx="1">
                  <c:v>7.89979557436430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62135566285679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7.9654431512981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H$2:$H$6</c:f>
              <c:numCache>
                <c:formatCode>General</c:formatCode>
                <c:ptCount val="5"/>
                <c:pt idx="0">
                  <c:v>7.596877217885024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001602946693495</c:v>
                </c:pt>
                <c:pt idx="4">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044954110935144</c:v>
                </c:pt>
                <c:pt idx="1">
                  <c:v>13.456990814987607</c:v>
                </c:pt>
                <c:pt idx="2">
                  <c:v>11.341700442151806</c:v>
                </c:pt>
                <c:pt idx="3">
                  <c:v>11.897096414760437</c:v>
                </c:pt>
                <c:pt idx="4">
                  <c:v>11.9569235355492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6.964990314943684</c:v>
                </c:pt>
                <c:pt idx="4">
                  <c:v>11.69246905810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0.33556778178292</c:v>
                </c:pt>
                <c:pt idx="2">
                  <c:v>11.875994642716458</c:v>
                </c:pt>
                <c:pt idx="3">
                  <c:v>10.445038569424964</c:v>
                </c:pt>
                <c:pt idx="4">
                  <c:v>19.1672670321065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5.879196137869091</c:v>
                </c:pt>
                <c:pt idx="1">
                  <c:v>27.8660812294182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4.207509881422926</c:v>
                </c:pt>
                <c:pt idx="2">
                  <c:v>17.952225841476658</c:v>
                </c:pt>
                <c:pt idx="3">
                  <c:v>19.2846244131455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Daisy</c:v>
                </c:pt>
                <c:pt idx="3">
                  <c:v>Hydro Silk</c:v>
                </c:pt>
                <c:pt idx="4">
                  <c:v>Intuition</c:v>
                </c:pt>
              </c:strCache>
            </c:strRef>
          </c:cat>
          <c:val>
            <c:numRef>
              <c:f>Sheet1!$B$2:$B$6</c:f>
              <c:numCache>
                <c:formatCode>General</c:formatCode>
                <c:ptCount val="5"/>
                <c:pt idx="2">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C$2:$C$6</c:f>
              <c:numCache>
                <c:formatCode>General</c:formatCode>
                <c:ptCount val="5"/>
                <c:pt idx="0">
                  <c:v>12.9517390409549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D$2:$D$6</c:f>
              <c:numCache>
                <c:formatCode>General</c:formatCode>
                <c:ptCount val="5"/>
                <c:pt idx="0">
                  <c:v>9.9244041801368326</c:v>
                </c:pt>
                <c:pt idx="3">
                  <c:v>12.49381804761026</c:v>
                </c:pt>
                <c:pt idx="4">
                  <c:v>13.9471112388617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E$2:$E$6</c:f>
              <c:numCache>
                <c:formatCode>General</c:formatCode>
                <c:ptCount val="5"/>
                <c:pt idx="0">
                  <c:v>9.040437173344948</c:v>
                </c:pt>
                <c:pt idx="1">
                  <c:v>8.37855201383741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F$2:$F$6</c:f>
              <c:numCache>
                <c:formatCode>General</c:formatCode>
                <c:ptCount val="5"/>
                <c:pt idx="0">
                  <c:v>8.29382245458201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Daisy</c:v>
                </c:pt>
                <c:pt idx="3">
                  <c:v>Hydro Silk</c:v>
                </c:pt>
                <c:pt idx="4">
                  <c:v>Intuition</c:v>
                </c:pt>
              </c:strCache>
            </c:strRef>
          </c:cat>
          <c:val>
            <c:numRef>
              <c:f>Sheet1!$G$2:$G$6</c:f>
              <c:numCache>
                <c:formatCode>General</c:formatCode>
                <c:ptCount val="5"/>
                <c:pt idx="0">
                  <c:v>18.27527886644558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Flamingo</c:v>
                </c:pt>
                <c:pt idx="3">
                  <c:v>Billie</c:v>
                </c:pt>
                <c:pt idx="4">
                  <c:v>Hydro Silk</c:v>
                </c:pt>
              </c:strCache>
            </c:strRef>
          </c:cat>
          <c:val>
            <c:numRef>
              <c:f>Sheet1!$B$2:$B$6</c:f>
              <c:numCache>
                <c:formatCode>General</c:formatCode>
                <c:ptCount val="5"/>
                <c:pt idx="0">
                  <c:v>13.607253368823823</c:v>
                </c:pt>
                <c:pt idx="4">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C$2:$C$6</c:f>
              <c:numCache>
                <c:formatCode>General</c:formatCode>
                <c:ptCount val="5"/>
                <c:pt idx="0">
                  <c:v>15.363255762370381</c:v>
                </c:pt>
                <c:pt idx="1">
                  <c:v>14.5838168347764</c:v>
                </c:pt>
                <c:pt idx="2">
                  <c:v>12.26519881695695</c:v>
                </c:pt>
                <c:pt idx="3">
                  <c:v>11.705731384095079</c:v>
                </c:pt>
                <c:pt idx="4">
                  <c:v>12.30509644514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D$2:$D$6</c:f>
              <c:numCache>
                <c:formatCode>General</c:formatCode>
                <c:ptCount val="5"/>
                <c:pt idx="1">
                  <c:v>17.743791631891408</c:v>
                </c:pt>
                <c:pt idx="4">
                  <c:v>12.182028043775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E$2:$E$6</c:f>
              <c:numCache>
                <c:formatCode>General</c:formatCode>
                <c:ptCount val="5"/>
                <c:pt idx="0">
                  <c:v>21.989592886652865</c:v>
                </c:pt>
                <c:pt idx="2">
                  <c:v>11.149165514616017</c:v>
                </c:pt>
                <c:pt idx="3">
                  <c:v>12.075637182917262</c:v>
                </c:pt>
                <c:pt idx="4">
                  <c:v>20.2642792040103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F$2:$F$6</c:f>
              <c:numCache>
                <c:formatCode>General</c:formatCode>
                <c:ptCount val="5"/>
                <c:pt idx="0">
                  <c:v>28.229419762291126</c:v>
                </c:pt>
                <c:pt idx="1">
                  <c:v>28.5894423122279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Flamingo</c:v>
                </c:pt>
                <c:pt idx="3">
                  <c:v>Billie</c:v>
                </c:pt>
                <c:pt idx="4">
                  <c:v>Hydro Silk</c:v>
                </c:pt>
              </c:strCache>
            </c:strRef>
          </c:cat>
          <c:val>
            <c:numRef>
              <c:f>Sheet1!$G$2:$G$6</c:f>
              <c:numCache>
                <c:formatCode>General</c:formatCode>
                <c:ptCount val="5"/>
                <c:pt idx="0">
                  <c:v>25.567421231495882</c:v>
                </c:pt>
                <c:pt idx="2">
                  <c:v>20.12724065327491</c:v>
                </c:pt>
                <c:pt idx="3">
                  <c:v>18.4996814272061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3980552535336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7564206438005581</c:v>
                </c:pt>
                <c:pt idx="2">
                  <c:v>11.874558068174238</c:v>
                </c:pt>
                <c:pt idx="4">
                  <c:v>13.4197746020680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1943311830574483</c:v>
                </c:pt>
                <c:pt idx="1">
                  <c:v>7.9963410290451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73940899581589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7.73220938309023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550356593483428</c:v>
                </c:pt>
                <c:pt idx="4">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245907997270802</c:v>
                </c:pt>
                <c:pt idx="1">
                  <c:v>13.48972782681799</c:v>
                </c:pt>
                <c:pt idx="2">
                  <c:v>11.320764561629302</c:v>
                </c:pt>
                <c:pt idx="3">
                  <c:v>12.040591109522108</c:v>
                </c:pt>
                <c:pt idx="4">
                  <c:v>12.167419765959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6.563948959032906</c:v>
                </c:pt>
                <c:pt idx="4">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0.261123824052884</c:v>
                </c:pt>
                <c:pt idx="2">
                  <c:v>11.843617223666687</c:v>
                </c:pt>
                <c:pt idx="3">
                  <c:v>10.450054965188714</c:v>
                </c:pt>
                <c:pt idx="4">
                  <c:v>18.7595603389054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5.48085933605822</c:v>
                </c:pt>
                <c:pt idx="1">
                  <c:v>27.8271922478765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2">
                  <c:v>17.854892966360858</c:v>
                </c:pt>
                <c:pt idx="3">
                  <c:v>19.3127058177826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725774271770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4686292158627623</c:v>
                </c:pt>
                <c:pt idx="2">
                  <c:v>11.755873410724156</c:v>
                </c:pt>
                <c:pt idx="4">
                  <c:v>13.5645892351274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7.9323430645327244</c:v>
                </c:pt>
                <c:pt idx="1">
                  <c:v>7.84078083852359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45744027180395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7115946735953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H$2:$H$6</c:f>
              <c:numCache>
                <c:formatCode>General</c:formatCode>
                <c:ptCount val="5"/>
                <c:pt idx="0">
                  <c:v>6.779706002449979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5B4796-F55C-4D41-BE44-624A47385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CA7997-12B1-4E9E-99C2-D6F851DA8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0FBE75-432F-4859-9D33-FFE9C6714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B428F6-B055-4038-85CA-E14F424B5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D34B56-A531-45F1-A27F-E01DED040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122AABB-0985-4668-88E8-BA3D97AB2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087AB9-838A-45BE-AABE-BF2114C9B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5344FD-9B96-4915-94F5-D679CE5D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9865756831733687</c:v>
                </c:pt>
                <c:pt idx="1">
                  <c:v>8.1772949483976092</c:v>
                </c:pt>
                <c:pt idx="2">
                  <c:v>12.60976419794088</c:v>
                </c:pt>
                <c:pt idx="3">
                  <c:v>14.358535614803021</c:v>
                </c:pt>
                <c:pt idx="4">
                  <c:v>13.53521126760563</c:v>
                </c:pt>
              </c:numCache>
            </c:numRef>
          </c:xVal>
          <c:yVal>
            <c:numRef>
              <c:f>Sheet1!$B$2:$B$6</c:f>
              <c:numCache>
                <c:formatCode>General</c:formatCode>
                <c:ptCount val="5"/>
                <c:pt idx="0">
                  <c:v>1.1120095887470749</c:v>
                </c:pt>
                <c:pt idx="1">
                  <c:v>0.83713885267136567</c:v>
                </c:pt>
                <c:pt idx="2">
                  <c:v>1.6817965812845721</c:v>
                </c:pt>
                <c:pt idx="3">
                  <c:v>0.49025343136514687</c:v>
                </c:pt>
                <c:pt idx="4">
                  <c:v>1.8433793275146779</c:v>
                </c:pt>
              </c:numCache>
            </c:numRef>
          </c:yVal>
          <c:bubbleSize>
            <c:numRef>
              <c:f>Sheet1!$C$2:$C$6</c:f>
              <c:numCache>
                <c:formatCode>General</c:formatCode>
                <c:ptCount val="5"/>
                <c:pt idx="0">
                  <c:v>313189</c:v>
                </c:pt>
                <c:pt idx="1">
                  <c:v>75272</c:v>
                </c:pt>
                <c:pt idx="2">
                  <c:v>37968</c:v>
                </c:pt>
                <c:pt idx="3">
                  <c:v>36083</c:v>
                </c:pt>
                <c:pt idx="4">
                  <c:v>11532</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B$2:$B$7</c:f>
              <c:numCache>
                <c:formatCode>General</c:formatCode>
                <c:ptCount val="6"/>
                <c:pt idx="0">
                  <c:v>11.702576981873772</c:v>
                </c:pt>
                <c:pt idx="2">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C$2:$C$7</c:f>
              <c:numCache>
                <c:formatCode>General</c:formatCode>
                <c:ptCount val="6"/>
                <c:pt idx="0">
                  <c:v>13.804697662861569</c:v>
                </c:pt>
                <c:pt idx="1">
                  <c:v>13.390850530836216</c:v>
                </c:pt>
                <c:pt idx="2">
                  <c:v>11.838520258367586</c:v>
                </c:pt>
                <c:pt idx="3">
                  <c:v>11.493926785188922</c:v>
                </c:pt>
                <c:pt idx="4">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D$2:$D$7</c:f>
              <c:numCache>
                <c:formatCode>General</c:formatCode>
                <c:ptCount val="6"/>
                <c:pt idx="1">
                  <c:v>16.693926458473751</c:v>
                </c:pt>
                <c:pt idx="2">
                  <c:v>11.59220593493028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E$2:$E$7</c:f>
              <c:numCache>
                <c:formatCode>General</c:formatCode>
                <c:ptCount val="6"/>
                <c:pt idx="0">
                  <c:v>20.636115527920829</c:v>
                </c:pt>
                <c:pt idx="2">
                  <c:v>18.12173774665818</c:v>
                </c:pt>
                <c:pt idx="3">
                  <c:v>12.012946058091286</c:v>
                </c:pt>
                <c:pt idx="4">
                  <c:v>10.6150807899461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F$2:$F$7</c:f>
              <c:numCache>
                <c:formatCode>General</c:formatCode>
                <c:ptCount val="6"/>
                <c:pt idx="5">
                  <c:v>12.62190565156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G$2:$G$7</c:f>
              <c:numCache>
                <c:formatCode>General</c:formatCode>
                <c:ptCount val="6"/>
                <c:pt idx="0">
                  <c:v>26.122480403135498</c:v>
                </c:pt>
                <c:pt idx="1">
                  <c:v>28.5206929740134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H$2:$H$7</c:f>
              <c:numCache>
                <c:formatCode>General</c:formatCode>
                <c:ptCount val="6"/>
                <c:pt idx="3">
                  <c:v>18.213899613899613</c:v>
                </c:pt>
                <c:pt idx="4">
                  <c:v>19.56336968785257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6525825739690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6844661776691119</c:v>
                </c:pt>
                <c:pt idx="2">
                  <c:v>12.11984557712751</c:v>
                </c:pt>
                <c:pt idx="4">
                  <c:v>13.7626206384558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8017549658923588</c:v>
                </c:pt>
                <c:pt idx="1">
                  <c:v>8.18217179033209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08122979836847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23020582236232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0">
                  <c:v>12.868112872203151</c:v>
                </c:pt>
                <c:pt idx="4">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14.605779677830791</c:v>
                </c:pt>
                <c:pt idx="1">
                  <c:v>14.112357352461689</c:v>
                </c:pt>
                <c:pt idx="2">
                  <c:v>12.170642748148424</c:v>
                </c:pt>
                <c:pt idx="3">
                  <c:v>11.592975337602232</c:v>
                </c:pt>
                <c:pt idx="4">
                  <c:v>12.0480285575206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1">
                  <c:v>17.198690226121339</c:v>
                </c:pt>
                <c:pt idx="4">
                  <c:v>11.970365381377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1.980792376304553</c:v>
                </c:pt>
                <c:pt idx="2">
                  <c:v>10.946946684822457</c:v>
                </c:pt>
                <c:pt idx="3">
                  <c:v>12.038193970808894</c:v>
                </c:pt>
                <c:pt idx="4">
                  <c:v>19.7157036511875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F$2:$F$7</c:f>
              <c:numCache>
                <c:formatCode>General</c:formatCode>
                <c:ptCount val="6"/>
                <c:pt idx="5">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G$2:$G$7</c:f>
              <c:numCache>
                <c:formatCode>General</c:formatCode>
                <c:ptCount val="6"/>
                <c:pt idx="0">
                  <c:v>26.956183456183457</c:v>
                </c:pt>
                <c:pt idx="1">
                  <c:v>29.1464547677261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H$2:$H$7</c:f>
              <c:numCache>
                <c:formatCode>General</c:formatCode>
                <c:ptCount val="6"/>
                <c:pt idx="0">
                  <c:v>25.316776381408339</c:v>
                </c:pt>
                <c:pt idx="2">
                  <c:v>20.075337186897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B$2:$B$9</c:f>
              <c:numCache>
                <c:formatCode>General</c:formatCode>
                <c:ptCount val="8"/>
                <c:pt idx="1">
                  <c:v>2.6796774784680228</c:v>
                </c:pt>
                <c:pt idx="3">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C$2:$C$9</c:f>
              <c:numCache>
                <c:formatCode>General</c:formatCode>
                <c:ptCount val="8"/>
                <c:pt idx="3">
                  <c:v>5.2386436340371079</c:v>
                </c:pt>
                <c:pt idx="4">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D$2:$D$9</c:f>
              <c:numCache>
                <c:formatCode>General</c:formatCode>
                <c:ptCount val="8"/>
                <c:pt idx="1">
                  <c:v>1.9943759722388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E$2:$E$9</c:f>
              <c:numCache>
                <c:formatCode>General</c:formatCode>
                <c:ptCount val="8"/>
                <c:pt idx="0">
                  <c:v>8.4347592865763712</c:v>
                </c:pt>
                <c:pt idx="2">
                  <c:v>7.19827315541601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F$2:$F$9</c:f>
              <c:numCache>
                <c:formatCode>General</c:formatCode>
                <c:ptCount val="8"/>
                <c:pt idx="3">
                  <c:v>9.49120234604105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G$2:$G$9</c:f>
              <c:numCache>
                <c:formatCode>General</c:formatCode>
                <c:ptCount val="8"/>
                <c:pt idx="0">
                  <c:v>5.8100583744948358</c:v>
                </c:pt>
                <c:pt idx="1">
                  <c:v>4.8954503513379235</c:v>
                </c:pt>
                <c:pt idx="2">
                  <c:v>4.9194759825327514</c:v>
                </c:pt>
                <c:pt idx="6">
                  <c:v>11.217917675544793</c:v>
                </c:pt>
                <c:pt idx="7">
                  <c:v>10.8165007112375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H$2:$H$9</c:f>
              <c:numCache>
                <c:formatCode>General</c:formatCode>
                <c:ptCount val="8"/>
                <c:pt idx="0">
                  <c:v>6.9347070803881632</c:v>
                </c:pt>
                <c:pt idx="1">
                  <c:v>3.905451672372926</c:v>
                </c:pt>
                <c:pt idx="2">
                  <c:v>6.437177541729894</c:v>
                </c:pt>
                <c:pt idx="5">
                  <c:v>6.2937910146390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I$2:$I$9</c:f>
              <c:numCache>
                <c:formatCode>General</c:formatCode>
                <c:ptCount val="8"/>
                <c:pt idx="0">
                  <c:v>7.4530651340996172</c:v>
                </c:pt>
                <c:pt idx="1">
                  <c:v>1.14309962136049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J$2:$J$9</c:f>
              <c:numCache>
                <c:formatCode>General</c:formatCode>
                <c:ptCount val="8"/>
                <c:pt idx="0">
                  <c:v>14.294019005030744</c:v>
                </c:pt>
                <c:pt idx="1">
                  <c:v>8.7439360529217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K$2:$K$9</c:f>
              <c:numCache>
                <c:formatCode>General</c:formatCode>
                <c:ptCount val="8"/>
                <c:pt idx="0">
                  <c:v>4.2477828540714864</c:v>
                </c:pt>
                <c:pt idx="2">
                  <c:v>9.695598519127930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B$2:$B$7</c:f>
              <c:numCache>
                <c:formatCode>General</c:formatCode>
                <c:ptCount val="6"/>
                <c:pt idx="3">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C$2:$C$7</c:f>
              <c:numCache>
                <c:formatCode>General</c:formatCode>
                <c:ptCount val="6"/>
                <c:pt idx="0">
                  <c:v>12.775443786982249</c:v>
                </c:pt>
                <c:pt idx="1">
                  <c:v>11.081810269799826</c:v>
                </c:pt>
                <c:pt idx="2">
                  <c:v>10.357878787878787</c:v>
                </c:pt>
                <c:pt idx="3">
                  <c:v>10.794602698650674</c:v>
                </c:pt>
                <c:pt idx="4">
                  <c:v>9.7611940298507456</c:v>
                </c:pt>
                <c:pt idx="5">
                  <c:v>6.16062176165803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D$2:$D$7</c:f>
              <c:numCache>
                <c:formatCode>General</c:formatCode>
                <c:ptCount val="6"/>
                <c:pt idx="1">
                  <c:v>12.592844974446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E$2:$E$7</c:f>
              <c:numCache>
                <c:formatCode>General</c:formatCode>
                <c:ptCount val="6"/>
                <c:pt idx="0">
                  <c:v>17.363504255760848</c:v>
                </c:pt>
                <c:pt idx="2">
                  <c:v>10.291488349976225</c:v>
                </c:pt>
                <c:pt idx="3">
                  <c:v>15.855285961871751</c:v>
                </c:pt>
                <c:pt idx="4">
                  <c:v>10.530579181855002</c:v>
                </c:pt>
                <c:pt idx="5">
                  <c:v>7.507905138339920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F$2:$F$7</c:f>
              <c:numCache>
                <c:formatCode>General</c:formatCode>
                <c:ptCount val="6"/>
                <c:pt idx="0">
                  <c:v>23.304451038575667</c:v>
                </c:pt>
                <c:pt idx="1">
                  <c:v>25.39291217257319</c:v>
                </c:pt>
                <c:pt idx="3">
                  <c:v>19.8984375</c:v>
                </c:pt>
                <c:pt idx="5">
                  <c:v>9.64412070759625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G$2:$G$7</c:f>
              <c:numCache>
                <c:formatCode>General</c:formatCode>
                <c:ptCount val="6"/>
                <c:pt idx="2">
                  <c:v>17.080760095011875</c:v>
                </c:pt>
                <c:pt idx="4">
                  <c:v>18.1923890063424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800074764284825</c:v>
                </c:pt>
                <c:pt idx="3">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785546833374772</c:v>
                </c:pt>
                <c:pt idx="5">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755109658903605</c:v>
                </c:pt>
                <c:pt idx="1">
                  <c:v>6.8760447238870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6439449187078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852719536294428</c:v>
                </c:pt>
                <c:pt idx="1">
                  <c:v>4.6284028961058814</c:v>
                </c:pt>
                <c:pt idx="2">
                  <c:v>4.7259031873534294</c:v>
                </c:pt>
                <c:pt idx="6">
                  <c:v>10.42036860566493</c:v>
                </c:pt>
                <c:pt idx="7">
                  <c:v>10.0969852886080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724253481271871</c:v>
                </c:pt>
                <c:pt idx="1">
                  <c:v>6.3161662452591658</c:v>
                </c:pt>
                <c:pt idx="2">
                  <c:v>3.6600721930213411</c:v>
                </c:pt>
                <c:pt idx="4">
                  <c:v>5.94562969687799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7015099929828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61129864121588</c:v>
                </c:pt>
                <c:pt idx="2">
                  <c:v>8.212032191509420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568881808526779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3781157998037292</c:v>
                </c:pt>
                <c:pt idx="1">
                  <c:v>9.242142097499057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Joy</c:v>
                </c:pt>
                <c:pt idx="4">
                  <c:v>Hydro Silk</c:v>
                </c:pt>
                <c:pt idx="5">
                  <c:v>Pbg Pl</c:v>
                </c:pt>
              </c:strCache>
            </c:strRef>
          </c:cat>
          <c:val>
            <c:numRef>
              <c:f>Sheet1!$B$2:$B$7</c:f>
              <c:numCache>
                <c:formatCode>General</c:formatCode>
                <c:ptCount val="6"/>
                <c:pt idx="4">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C$2:$C$7</c:f>
              <c:numCache>
                <c:formatCode>General</c:formatCode>
                <c:ptCount val="6"/>
                <c:pt idx="0">
                  <c:v>12.096308599060798</c:v>
                </c:pt>
                <c:pt idx="1">
                  <c:v>10.186384219018374</c:v>
                </c:pt>
                <c:pt idx="2">
                  <c:v>9.9100402911670091</c:v>
                </c:pt>
                <c:pt idx="3">
                  <c:v>9.3202082864581666</c:v>
                </c:pt>
                <c:pt idx="4">
                  <c:v>9.9512852591799614</c:v>
                </c:pt>
                <c:pt idx="5">
                  <c:v>5.7172022684310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D$2:$D$7</c:f>
              <c:numCache>
                <c:formatCode>General</c:formatCode>
                <c:ptCount val="6"/>
                <c:pt idx="1">
                  <c:v>11.950548888866905</c:v>
                </c:pt>
                <c:pt idx="4">
                  <c:v>8.9828557000378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E$2:$E$7</c:f>
              <c:numCache>
                <c:formatCode>General</c:formatCode>
                <c:ptCount val="6"/>
                <c:pt idx="0">
                  <c:v>16.291075456161916</c:v>
                </c:pt>
                <c:pt idx="2">
                  <c:v>9.9701361952812864</c:v>
                </c:pt>
                <c:pt idx="3">
                  <c:v>9.7601927478617032</c:v>
                </c:pt>
                <c:pt idx="4">
                  <c:v>14.540925050538828</c:v>
                </c:pt>
                <c:pt idx="5">
                  <c:v>6.95202182083286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F$2:$F$7</c:f>
              <c:numCache>
                <c:formatCode>General</c:formatCode>
                <c:ptCount val="6"/>
                <c:pt idx="0">
                  <c:v>23.788469276312007</c:v>
                </c:pt>
                <c:pt idx="1">
                  <c:v>23.25534691815426</c:v>
                </c:pt>
                <c:pt idx="4">
                  <c:v>18.19138517343006</c:v>
                </c:pt>
                <c:pt idx="5">
                  <c:v>8.95827230413696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Joy</c:v>
                </c:pt>
                <c:pt idx="4">
                  <c:v>Hydro Silk</c:v>
                </c:pt>
                <c:pt idx="5">
                  <c:v>Pbg Pl</c:v>
                </c:pt>
              </c:strCache>
            </c:strRef>
          </c:cat>
          <c:val>
            <c:numRef>
              <c:f>Sheet1!$G$2:$G$7</c:f>
              <c:numCache>
                <c:formatCode>General</c:formatCode>
                <c:ptCount val="6"/>
                <c:pt idx="2">
                  <c:v>16.885680152548993</c:v>
                </c:pt>
                <c:pt idx="3">
                  <c:v>16.92314948957245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3">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920407742504667</c:v>
                </c:pt>
                <c:pt idx="5">
                  <c:v>15.0128474209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867110343778602</c:v>
                </c:pt>
                <c:pt idx="1">
                  <c:v>6.86355496753946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9267138276757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3663802539404557</c:v>
                </c:pt>
                <c:pt idx="1">
                  <c:v>4.6361087150483611</c:v>
                </c:pt>
                <c:pt idx="2">
                  <c:v>4.760657474404355</c:v>
                </c:pt>
                <c:pt idx="6">
                  <c:v>10.423428822565823</c:v>
                </c:pt>
                <c:pt idx="7">
                  <c:v>10.082015955724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818374388493451</c:v>
                </c:pt>
                <c:pt idx="1">
                  <c:v>6.3043451596783715</c:v>
                </c:pt>
                <c:pt idx="2">
                  <c:v>3.6701662778209827</c:v>
                </c:pt>
                <c:pt idx="4">
                  <c:v>5.94609304247667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8281897250118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86670460759042</c:v>
                </c:pt>
                <c:pt idx="2">
                  <c:v>8.23512571519845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365711213742882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3708855645798286</c:v>
                </c:pt>
                <c:pt idx="1">
                  <c:v>9.27913706733082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152037656473359</c:v>
                </c:pt>
                <c:pt idx="1">
                  <c:v>9.9260042039572536</c:v>
                </c:pt>
                <c:pt idx="2">
                  <c:v>10.15603243049005</c:v>
                </c:pt>
                <c:pt idx="3">
                  <c:v>9.3038644612120169</c:v>
                </c:pt>
                <c:pt idx="4">
                  <c:v>9.9553401315710648</c:v>
                </c:pt>
                <c:pt idx="5">
                  <c:v>5.7189897346844569</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9086590169549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309376614822767</c:v>
                </c:pt>
                <c:pt idx="1">
                  <c:v>9.9704521729987903</c:v>
                </c:pt>
                <c:pt idx="3">
                  <c:v>9.6714850343491037</c:v>
                </c:pt>
                <c:pt idx="4">
                  <c:v>14.504567278757808</c:v>
                </c:pt>
                <c:pt idx="5">
                  <c:v>6.9520728283152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763222592084936</c:v>
                </c:pt>
                <c:pt idx="2">
                  <c:v>23.166583541147133</c:v>
                </c:pt>
                <c:pt idx="4">
                  <c:v>18.115169653481413</c:v>
                </c:pt>
                <c:pt idx="5">
                  <c:v>8.95973635551754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B$2:$B$7</c:f>
              <c:numCache>
                <c:formatCode>General</c:formatCode>
                <c:ptCount val="6"/>
                <c:pt idx="4">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C$2:$C$7</c:f>
              <c:numCache>
                <c:formatCode>General</c:formatCode>
                <c:ptCount val="6"/>
                <c:pt idx="5">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D$2:$D$7</c:f>
              <c:numCache>
                <c:formatCode>General</c:formatCode>
                <c:ptCount val="6"/>
                <c:pt idx="4">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E$2:$E$7</c:f>
              <c:numCache>
                <c:formatCode>General</c:formatCode>
                <c:ptCount val="6"/>
                <c:pt idx="1">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F$2:$F$7</c:f>
              <c:numCache>
                <c:formatCode>General</c:formatCode>
                <c:ptCount val="6"/>
                <c:pt idx="0">
                  <c:v>7.7073924966450784</c:v>
                </c:pt>
                <c:pt idx="3">
                  <c:v>8.51313802476593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G$2:$G$7</c:f>
              <c:numCache>
                <c:formatCode>General</c:formatCode>
                <c:ptCount val="6"/>
                <c:pt idx="0">
                  <c:v>6.4249378424167745</c:v>
                </c:pt>
                <c:pt idx="1">
                  <c:v>5.6547705168394824</c:v>
                </c:pt>
                <c:pt idx="2">
                  <c:v>7.0592708936099857</c:v>
                </c:pt>
                <c:pt idx="3">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H$2:$H$7</c:f>
              <c:numCache>
                <c:formatCode>General</c:formatCode>
                <c:ptCount val="6"/>
                <c:pt idx="0">
                  <c:v>6.1558759099860598</c:v>
                </c:pt>
                <c:pt idx="1">
                  <c:v>3.6708367854183925</c:v>
                </c:pt>
                <c:pt idx="2">
                  <c:v>3.468798422313002</c:v>
                </c:pt>
                <c:pt idx="3">
                  <c:v>5.3202968311271563</c:v>
                </c:pt>
                <c:pt idx="5">
                  <c:v>6.47434057060829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I$2:$I$7</c:f>
              <c:numCache>
                <c:formatCode>General</c:formatCode>
                <c:ptCount val="6"/>
                <c:pt idx="0">
                  <c:v>6.1319562709443503</c:v>
                </c:pt>
                <c:pt idx="1">
                  <c:v>1.5442630597014926</c:v>
                </c:pt>
                <c:pt idx="2">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J$2:$J$7</c:f>
              <c:numCache>
                <c:formatCode>General</c:formatCode>
                <c:ptCount val="6"/>
                <c:pt idx="0">
                  <c:v>4.006302843966180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FB6625-8D40-40FD-B5E8-0830C522C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191BAC-903B-4665-B314-8C9137335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50740D-1C86-4865-8BAF-DC62DA556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2F26DD-53CC-4E1C-8D65-693A3FB32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F0B53C-CA62-42CB-9690-7351B476C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378A2B-C9AC-41C7-9AA9-361137C3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FAEFC6-8F59-4033-8E47-D27BF02BF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54B134-1D4E-4FCA-AACD-C5F28074B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846956948965179</c:v>
                </c:pt>
                <c:pt idx="1">
                  <c:v>18.905083581406</c:v>
                </c:pt>
                <c:pt idx="2">
                  <c:v>12.53099427168576</c:v>
                </c:pt>
                <c:pt idx="3">
                  <c:v>12.29960531036957</c:v>
                </c:pt>
                <c:pt idx="4">
                  <c:v>15.408017666043831</c:v>
                </c:pt>
                <c:pt idx="5">
                  <c:v>13.83411115825202</c:v>
                </c:pt>
              </c:numCache>
            </c:numRef>
          </c:xVal>
          <c:yVal>
            <c:numRef>
              <c:f>Sheet1!$B$2:$B$7</c:f>
              <c:numCache>
                <c:formatCode>General</c:formatCode>
                <c:ptCount val="6"/>
                <c:pt idx="0">
                  <c:v>1.193638721394308</c:v>
                </c:pt>
                <c:pt idx="1">
                  <c:v>1.105460542118575</c:v>
                </c:pt>
                <c:pt idx="2">
                  <c:v>0.69506533429391593</c:v>
                </c:pt>
                <c:pt idx="3">
                  <c:v>0.77010859869465831</c:v>
                </c:pt>
                <c:pt idx="4">
                  <c:v>1.130068106940848</c:v>
                </c:pt>
                <c:pt idx="5">
                  <c:v>0.50400982945511363</c:v>
                </c:pt>
              </c:numCache>
            </c:numRef>
          </c:yVal>
          <c:bubbleSize>
            <c:numRef>
              <c:f>Sheet1!$C$2:$C$7</c:f>
              <c:numCache>
                <c:formatCode>General</c:formatCode>
                <c:ptCount val="6"/>
                <c:pt idx="0">
                  <c:v>581204</c:v>
                </c:pt>
                <c:pt idx="1">
                  <c:v>165117</c:v>
                </c:pt>
                <c:pt idx="2">
                  <c:v>122503</c:v>
                </c:pt>
                <c:pt idx="3">
                  <c:v>102837</c:v>
                </c:pt>
                <c:pt idx="4">
                  <c:v>90707</c:v>
                </c:pt>
                <c:pt idx="5">
                  <c:v>3260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Pbg Pl</c:v>
                </c:pt>
                <c:pt idx="3">
                  <c:v>Intuition</c:v>
                </c:pt>
              </c:strCache>
            </c:strRef>
          </c:cat>
          <c:val>
            <c:numRef>
              <c:f>Sheet1!$B$2:$B$5</c:f>
              <c:numCache>
                <c:formatCode>General</c:formatCode>
                <c:ptCount val="4"/>
                <c:pt idx="1">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C$2:$C$5</c:f>
              <c:numCache>
                <c:formatCode>General</c:formatCode>
                <c:ptCount val="4"/>
                <c:pt idx="0">
                  <c:v>13.192543620501636</c:v>
                </c:pt>
                <c:pt idx="1">
                  <c:v>8.9820996613449449</c:v>
                </c:pt>
                <c:pt idx="2">
                  <c:v>7.0096754057428212</c:v>
                </c:pt>
                <c:pt idx="3">
                  <c:v>12.6931216931216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D$2:$D$5</c:f>
              <c:numCache>
                <c:formatCode>General</c:formatCode>
                <c:ptCount val="4"/>
                <c:pt idx="3">
                  <c:v>13.149980522010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E$2:$E$5</c:f>
              <c:numCache>
                <c:formatCode>General</c:formatCode>
                <c:ptCount val="4"/>
                <c:pt idx="0">
                  <c:v>16.53907851887589</c:v>
                </c:pt>
                <c:pt idx="1">
                  <c:v>15.216697080291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F$2:$F$5</c:f>
              <c:numCache>
                <c:formatCode>General</c:formatCode>
                <c:ptCount val="4"/>
                <c:pt idx="2">
                  <c:v>10.88357877188107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799994999093586</c:v>
                </c:pt>
                <c:pt idx="3">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771599384740401</c:v>
                </c:pt>
                <c:pt idx="5">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2">
                  <c:v>1.96996772393319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0">
                  <c:v>7.9200755751998342</c:v>
                </c:pt>
                <c:pt idx="1">
                  <c:v>6.86499169612059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3">
                  <c:v>8.9614852566436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2699162708710769</c:v>
                </c:pt>
                <c:pt idx="1">
                  <c:v>4.567623422503778</c:v>
                </c:pt>
                <c:pt idx="2">
                  <c:v>4.7481056844793414</c:v>
                </c:pt>
                <c:pt idx="6">
                  <c:v>10.412729262585856</c:v>
                </c:pt>
                <c:pt idx="7">
                  <c:v>10.0921427374769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6519541622024505</c:v>
                </c:pt>
                <c:pt idx="1">
                  <c:v>6.2047558142340966</c:v>
                </c:pt>
                <c:pt idx="2">
                  <c:v>3.6595085356949779</c:v>
                </c:pt>
                <c:pt idx="4">
                  <c:v>5.94270829100189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6.9705113606956166</c:v>
                </c:pt>
                <c:pt idx="2">
                  <c:v>1.06428382314005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0">
                  <c:v>13.455248984036244</c:v>
                </c:pt>
                <c:pt idx="2">
                  <c:v>8.211568984205635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4">
                  <c:v>9.384589423401438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L$2:$L$9</c:f>
              <c:numCache>
                <c:formatCode>General</c:formatCode>
                <c:ptCount val="8"/>
                <c:pt idx="0">
                  <c:v>4.1456769295655844</c:v>
                </c:pt>
                <c:pt idx="1">
                  <c:v>9.24573614788162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024322366597211</c:v>
                </c:pt>
                <c:pt idx="1">
                  <c:v>9.9187133126030087</c:v>
                </c:pt>
                <c:pt idx="2">
                  <c:v>10.174266752301435</c:v>
                </c:pt>
                <c:pt idx="3">
                  <c:v>9.2570097402049321</c:v>
                </c:pt>
                <c:pt idx="4">
                  <c:v>9.9513330206717416</c:v>
                </c:pt>
                <c:pt idx="5">
                  <c:v>5.7178025452885439</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7966955957386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110931301052332</c:v>
                </c:pt>
                <c:pt idx="1">
                  <c:v>9.9699639504642512</c:v>
                </c:pt>
                <c:pt idx="3">
                  <c:v>9.6813565574242926</c:v>
                </c:pt>
                <c:pt idx="4">
                  <c:v>14.535419434781959</c:v>
                </c:pt>
                <c:pt idx="5">
                  <c:v>6.94860768021558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555699953215157</c:v>
                </c:pt>
                <c:pt idx="2">
                  <c:v>22.845041056397847</c:v>
                </c:pt>
                <c:pt idx="4">
                  <c:v>18.216894864317137</c:v>
                </c:pt>
                <c:pt idx="5">
                  <c:v>8.9579157993254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4799070026409442</c:v>
                </c:pt>
                <c:pt idx="3">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75027476465814</c:v>
                </c:pt>
                <c:pt idx="5">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0">
                  <c:v>7.9016010290228298</c:v>
                </c:pt>
                <c:pt idx="1">
                  <c:v>6.8685133261825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3">
                  <c:v>8.9647513931721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0">
                  <c:v>6.1495228027786171</c:v>
                </c:pt>
                <c:pt idx="1">
                  <c:v>4.524090077942243</c:v>
                </c:pt>
                <c:pt idx="2">
                  <c:v>4.728654504554612</c:v>
                </c:pt>
                <c:pt idx="6">
                  <c:v>10.4143926008332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637476721791586</c:v>
                </c:pt>
                <c:pt idx="1">
                  <c:v>6.1215124694492564</c:v>
                </c:pt>
                <c:pt idx="2">
                  <c:v>3.660140703037825</c:v>
                </c:pt>
                <c:pt idx="4">
                  <c:v>5.94233590438218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9705376344086023</c:v>
                </c:pt>
                <c:pt idx="2">
                  <c:v>1.06309989094431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13.459961946181027</c:v>
                </c:pt>
                <c:pt idx="2">
                  <c:v>8.21445716297378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4.1450057135175102</c:v>
                </c:pt>
                <c:pt idx="1">
                  <c:v>9.207285234112404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1.993899497654613</c:v>
                </c:pt>
                <c:pt idx="1">
                  <c:v>9.9087464159196159</c:v>
                </c:pt>
                <c:pt idx="2">
                  <c:v>10.139351030644075</c:v>
                </c:pt>
                <c:pt idx="3">
                  <c:v>9.2586770317447424</c:v>
                </c:pt>
                <c:pt idx="4">
                  <c:v>9.9499455160409269</c:v>
                </c:pt>
                <c:pt idx="5">
                  <c:v>5.717950551257668</c:v>
                </c:pt>
                <c:pt idx="6">
                  <c:v>9.9657766632246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615671861084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078768817222642</c:v>
                </c:pt>
                <c:pt idx="1">
                  <c:v>9.9702407130501065</c:v>
                </c:pt>
                <c:pt idx="3">
                  <c:v>9.6984351690492296</c:v>
                </c:pt>
                <c:pt idx="4">
                  <c:v>14.510379521141111</c:v>
                </c:pt>
                <c:pt idx="5">
                  <c:v>6.9448208683694084</c:v>
                </c:pt>
                <c:pt idx="6">
                  <c:v>9.818029750881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635580716070944</c:v>
                </c:pt>
                <c:pt idx="2">
                  <c:v>22.701966766194989</c:v>
                </c:pt>
                <c:pt idx="4">
                  <c:v>18.196168780740358</c:v>
                </c:pt>
                <c:pt idx="5">
                  <c:v>8.95939745657958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62382576437504</c:v>
                </c:pt>
                <c:pt idx="3">
                  <c:v>16.90375068946497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5304509658314767</c:v>
                </c:pt>
                <c:pt idx="3">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76303898451211</c:v>
                </c:pt>
                <c:pt idx="5">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2">
                  <c:v>2.0239448813216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0">
                  <c:v>7.9437020823579578</c:v>
                </c:pt>
                <c:pt idx="1">
                  <c:v>6.86469350850647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3">
                  <c:v>9.12189331770222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2220595720896812</c:v>
                </c:pt>
                <c:pt idx="1">
                  <c:v>4.6265438439905022</c:v>
                </c:pt>
                <c:pt idx="2">
                  <c:v>4.7849173707789117</c:v>
                </c:pt>
                <c:pt idx="6">
                  <c:v>10.585489519627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6876012313309294</c:v>
                </c:pt>
                <c:pt idx="1">
                  <c:v>6.2391106967365291</c:v>
                </c:pt>
                <c:pt idx="2">
                  <c:v>3.7285891871851353</c:v>
                </c:pt>
                <c:pt idx="4">
                  <c:v>6.01781005744420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6.89682216834534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13.680224667027135</c:v>
                </c:pt>
                <c:pt idx="2">
                  <c:v>8.353573647238725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K$2:$K$8</c:f>
              <c:numCache>
                <c:formatCode>General</c:formatCode>
                <c:ptCount val="7"/>
                <c:pt idx="0">
                  <c:v>4.3568918841080579</c:v>
                </c:pt>
                <c:pt idx="1">
                  <c:v>9.341065622228791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064520650061038</c:v>
                </c:pt>
                <c:pt idx="1">
                  <c:v>9.9328793192182019</c:v>
                </c:pt>
                <c:pt idx="2">
                  <c:v>10.189469088368844</c:v>
                </c:pt>
                <c:pt idx="3">
                  <c:v>9.952661623427856</c:v>
                </c:pt>
                <c:pt idx="4">
                  <c:v>9.2849381530569701</c:v>
                </c:pt>
                <c:pt idx="5">
                  <c:v>5.809354030372849</c:v>
                </c:pt>
                <c:pt idx="6">
                  <c:v>10.0918766228207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11.7224369870088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6.363610817028061</c:v>
                </c:pt>
                <c:pt idx="1">
                  <c:v>9.9706687220668719</c:v>
                </c:pt>
                <c:pt idx="3">
                  <c:v>14.519231720385788</c:v>
                </c:pt>
                <c:pt idx="4">
                  <c:v>9.7641592414896046</c:v>
                </c:pt>
                <c:pt idx="5">
                  <c:v>7.0182469757906762</c:v>
                </c:pt>
                <c:pt idx="6">
                  <c:v>9.92092964506757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23.821272749186452</c:v>
                </c:pt>
                <c:pt idx="2">
                  <c:v>23.189585028478437</c:v>
                </c:pt>
                <c:pt idx="3">
                  <c:v>18.407784908351161</c:v>
                </c:pt>
                <c:pt idx="5">
                  <c:v>9.04376393755973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G$2:$G$8</c:f>
              <c:numCache>
                <c:formatCode>General</c:formatCode>
                <c:ptCount val="7"/>
                <c:pt idx="1">
                  <c:v>16.962004044546983</c:v>
                </c:pt>
                <c:pt idx="4">
                  <c:v>16.9210877413278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B$2:$B$8</c:f>
              <c:numCache>
                <c:formatCode>General</c:formatCode>
                <c:ptCount val="7"/>
                <c:pt idx="0">
                  <c:v>9.6543759811616958</c:v>
                </c:pt>
                <c:pt idx="3">
                  <c:v>7.67983539094650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C$2:$C$8</c:f>
              <c:numCache>
                <c:formatCode>General</c:formatCode>
                <c:ptCount val="7"/>
                <c:pt idx="0">
                  <c:v>6.7162833232313561</c:v>
                </c:pt>
                <c:pt idx="4">
                  <c:v>5.1386429104875706</c:v>
                </c:pt>
                <c:pt idx="6">
                  <c:v>4.79662555799349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D$2:$D$8</c:f>
              <c:numCache>
                <c:formatCode>General</c:formatCode>
                <c:ptCount val="7"/>
                <c:pt idx="0">
                  <c:v>4.1835918499702753</c:v>
                </c:pt>
                <c:pt idx="1">
                  <c:v>6.6077850993105232</c:v>
                </c:pt>
                <c:pt idx="2">
                  <c:v>5.65619508665541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E$2:$E$8</c:f>
              <c:numCache>
                <c:formatCode>General</c:formatCode>
                <c:ptCount val="7"/>
                <c:pt idx="0">
                  <c:v>5.9550962753698613</c:v>
                </c:pt>
                <c:pt idx="3">
                  <c:v>5.5238952441786191</c:v>
                </c:pt>
                <c:pt idx="5">
                  <c:v>4.763572442701643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B$2:$B$9</c:f>
              <c:numCache>
                <c:formatCode>General</c:formatCode>
                <c:ptCount val="8"/>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C$2:$C$9</c:f>
              <c:numCache>
                <c:formatCode>General</c:formatCode>
                <c:ptCount val="8"/>
                <c:pt idx="0">
                  <c:v>27.80336853861051</c:v>
                </c:pt>
                <c:pt idx="1">
                  <c:v>29.9399467596409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D$2:$D$9</c:f>
              <c:numCache>
                <c:formatCode>General</c:formatCode>
                <c:ptCount val="8"/>
                <c:pt idx="0">
                  <c:v>12.071410014304389</c:v>
                </c:pt>
                <c:pt idx="2">
                  <c:v>15.441448975579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E$2:$E$9</c:f>
              <c:numCache>
                <c:formatCode>General</c:formatCode>
                <c:ptCount val="8"/>
                <c:pt idx="0">
                  <c:v>12.461371010772794</c:v>
                </c:pt>
                <c:pt idx="1">
                  <c:v>10.227326278269619</c:v>
                </c:pt>
                <c:pt idx="2">
                  <c:v>10.296461999017632</c:v>
                </c:pt>
                <c:pt idx="3">
                  <c:v>10.086347395875576</c:v>
                </c:pt>
                <c:pt idx="4">
                  <c:v>10.309534526059997</c:v>
                </c:pt>
                <c:pt idx="5">
                  <c:v>9.131185388502681</c:v>
                </c:pt>
                <c:pt idx="6">
                  <c:v>9.6563547435805219</c:v>
                </c:pt>
                <c:pt idx="7">
                  <c:v>6.2436261103643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F$2:$F$9</c:f>
              <c:numCache>
                <c:formatCode>General</c:formatCode>
                <c:ptCount val="8"/>
                <c:pt idx="1">
                  <c:v>9.8652972573236184</c:v>
                </c:pt>
                <c:pt idx="2">
                  <c:v>9.795333454466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G$2:$G$9</c:f>
              <c:numCache>
                <c:formatCode>General</c:formatCode>
                <c:ptCount val="8"/>
                <c:pt idx="0">
                  <c:v>18.05223786463674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H$2:$H$9</c:f>
              <c:numCache>
                <c:formatCode>General</c:formatCode>
                <c:ptCount val="8"/>
                <c:pt idx="4">
                  <c:v>15.2984261128145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I$2:$I$9</c:f>
              <c:numCache>
                <c:formatCode>General</c:formatCode>
                <c:ptCount val="8"/>
                <c:pt idx="0">
                  <c:v>19.93865498700090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B$2:$B$9</c:f>
              <c:numCache>
                <c:formatCode>General</c:formatCode>
                <c:ptCount val="8"/>
                <c:pt idx="2">
                  <c:v>11.5180088080242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C$2:$C$9</c:f>
              <c:numCache>
                <c:formatCode>General</c:formatCode>
                <c:ptCount val="8"/>
                <c:pt idx="1">
                  <c:v>14.381537000172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D$2:$D$9</c:f>
              <c:numCache>
                <c:formatCode>General</c:formatCode>
                <c:ptCount val="8"/>
                <c:pt idx="0">
                  <c:v>17.454200908089273</c:v>
                </c:pt>
                <c:pt idx="2">
                  <c:v>10.101834405812999</c:v>
                </c:pt>
                <c:pt idx="3">
                  <c:v>9.9344551439609941</c:v>
                </c:pt>
                <c:pt idx="4">
                  <c:v>15.181734919723974</c:v>
                </c:pt>
                <c:pt idx="5">
                  <c:v>8.9445920736535545</c:v>
                </c:pt>
                <c:pt idx="6">
                  <c:v>7.3311321714363213</c:v>
                </c:pt>
                <c:pt idx="7">
                  <c:v>11.6290610475044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E$2:$E$9</c:f>
              <c:numCache>
                <c:formatCode>General</c:formatCode>
                <c:ptCount val="8"/>
                <c:pt idx="0">
                  <c:v>24.740831774860471</c:v>
                </c:pt>
                <c:pt idx="1">
                  <c:v>23.826743619653136</c:v>
                </c:pt>
                <c:pt idx="2">
                  <c:v>14.121463266923016</c:v>
                </c:pt>
                <c:pt idx="4">
                  <c:v>18.7817511683993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F$2:$F$9</c:f>
              <c:numCache>
                <c:formatCode>General</c:formatCode>
                <c:ptCount val="8"/>
                <c:pt idx="0">
                  <c:v>22.813577935712214</c:v>
                </c:pt>
                <c:pt idx="2">
                  <c:v>17.026304973284013</c:v>
                </c:pt>
                <c:pt idx="3">
                  <c:v>16.986618992183601</c:v>
                </c:pt>
                <c:pt idx="5">
                  <c:v>16.6813018719980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F36712-5586-4843-ACCE-019BCDCAF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4CE13A-CBD3-400C-AC00-D159CCBA3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70E146-74F4-4FB1-8894-6F8777572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0E499B-3938-4945-A1E2-440428E1B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2C0E65-EA05-4A46-A076-72AB5D1F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B01DA7-FC86-4994-818B-6293132F9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1EF5C2-78D0-44B2-B338-A795C164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AAEC5A-E52C-4562-9C79-7A804FBD6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984704197822678</c:v>
                </c:pt>
                <c:pt idx="1">
                  <c:v>8.1538628839322396</c:v>
                </c:pt>
                <c:pt idx="2">
                  <c:v>12.518602029312291</c:v>
                </c:pt>
                <c:pt idx="3">
                  <c:v>14.88006891068116</c:v>
                </c:pt>
                <c:pt idx="4">
                  <c:v>13.830276655268881</c:v>
                </c:pt>
              </c:numCache>
            </c:numRef>
          </c:xVal>
          <c:yVal>
            <c:numRef>
              <c:f>Sheet1!$B$2:$B$6</c:f>
              <c:numCache>
                <c:formatCode>General</c:formatCode>
                <c:ptCount val="5"/>
                <c:pt idx="0">
                  <c:v>1.089987028944726</c:v>
                </c:pt>
                <c:pt idx="1">
                  <c:v>0.82574155100893532</c:v>
                </c:pt>
                <c:pt idx="2">
                  <c:v>1.658698108818677</c:v>
                </c:pt>
                <c:pt idx="3">
                  <c:v>0.50248056753540316</c:v>
                </c:pt>
                <c:pt idx="4">
                  <c:v>1.867278176429418</c:v>
                </c:pt>
              </c:numCache>
            </c:numRef>
          </c:yVal>
          <c:bubbleSize>
            <c:numRef>
              <c:f>Sheet1!$C$2:$C$6</c:f>
              <c:numCache>
                <c:formatCode>General</c:formatCode>
                <c:ptCount val="5"/>
                <c:pt idx="0">
                  <c:v>1317951</c:v>
                </c:pt>
                <c:pt idx="1">
                  <c:v>337415</c:v>
                </c:pt>
                <c:pt idx="2">
                  <c:v>133248</c:v>
                </c:pt>
                <c:pt idx="3">
                  <c:v>112285</c:v>
                </c:pt>
                <c:pt idx="4">
                  <c:v>44492</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B$2:$B$4</c:f>
              <c:numCache>
                <c:formatCode>General</c:formatCode>
                <c:ptCount val="3"/>
                <c:pt idx="0">
                  <c:v>22.8988621997471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C$2:$C$4</c:f>
              <c:numCache>
                <c:formatCode>General</c:formatCode>
                <c:ptCount val="3"/>
                <c:pt idx="0">
                  <c:v>14.8990147783251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D$2:$D$4</c:f>
              <c:numCache>
                <c:formatCode>General</c:formatCode>
                <c:ptCount val="3"/>
                <c:pt idx="0">
                  <c:v>6.5580805122798793</c:v>
                </c:pt>
                <c:pt idx="1">
                  <c:v>6.0340514246004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E$2:$E$4</c:f>
              <c:numCache>
                <c:formatCode>General</c:formatCode>
                <c:ptCount val="3"/>
                <c:pt idx="0">
                  <c:v>6.0161026200873362</c:v>
                </c:pt>
                <c:pt idx="2">
                  <c:v>6.44673539518900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F$2:$F$4</c:f>
              <c:numCache>
                <c:formatCode>General</c:formatCode>
                <c:ptCount val="3"/>
                <c:pt idx="0">
                  <c:v>12.3829953198127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G$2:$G$4</c:f>
              <c:numCache>
                <c:formatCode>General</c:formatCode>
                <c:ptCount val="3"/>
                <c:pt idx="2">
                  <c:v>15.87177950868783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B$2:$B$10</c:f>
              <c:numCache>
                <c:formatCode>General</c:formatCode>
                <c:ptCount val="9"/>
                <c:pt idx="7">
                  <c:v>18.0059107689890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C$2:$C$10</c:f>
              <c:numCache>
                <c:formatCode>General</c:formatCode>
                <c:ptCount val="9"/>
                <c:pt idx="1">
                  <c:v>28.1966610939744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D$2:$D$10</c:f>
              <c:numCache>
                <c:formatCode>General</c:formatCode>
                <c:ptCount val="9"/>
                <c:pt idx="2">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E$2:$E$10</c:f>
              <c:numCache>
                <c:formatCode>General</c:formatCode>
                <c:ptCount val="9"/>
                <c:pt idx="2">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F$2:$F$10</c:f>
              <c:numCache>
                <c:formatCode>General</c:formatCode>
                <c:ptCount val="9"/>
                <c:pt idx="0">
                  <c:v>10.820185871442153</c:v>
                </c:pt>
                <c:pt idx="4">
                  <c:v>14.6944170196503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G$2:$G$10</c:f>
              <c:numCache>
                <c:formatCode>General</c:formatCode>
                <c:ptCount val="9"/>
                <c:pt idx="0">
                  <c:v>11.80175476062286</c:v>
                </c:pt>
                <c:pt idx="1">
                  <c:v>8.9010760466588295</c:v>
                </c:pt>
                <c:pt idx="6">
                  <c:v>9.89935322593444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H$2:$H$10</c:f>
              <c:numCache>
                <c:formatCode>General</c:formatCode>
                <c:ptCount val="9"/>
                <c:pt idx="0">
                  <c:v>16.631893265565438</c:v>
                </c:pt>
                <c:pt idx="7">
                  <c:v>10.01321663019693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I$2:$I$10</c:f>
              <c:numCache>
                <c:formatCode>General</c:formatCode>
                <c:ptCount val="9"/>
                <c:pt idx="0">
                  <c:v>19.086480330076501</c:v>
                </c:pt>
                <c:pt idx="1">
                  <c:v>21.312211270041256</c:v>
                </c:pt>
                <c:pt idx="3">
                  <c:v>20.163924888657064</c:v>
                </c:pt>
                <c:pt idx="5">
                  <c:v>14.536553582471949</c:v>
                </c:pt>
                <c:pt idx="6">
                  <c:v>14.680308176621654</c:v>
                </c:pt>
                <c:pt idx="8">
                  <c:v>13.05036959344720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J$2:$J$10</c:f>
              <c:numCache>
                <c:formatCode>General</c:formatCode>
                <c:ptCount val="9"/>
                <c:pt idx="3">
                  <c:v>15.97702533823556</c:v>
                </c:pt>
                <c:pt idx="4">
                  <c:v>18.9432100724752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K$2:$K$10</c:f>
              <c:numCache>
                <c:formatCode>General</c:formatCode>
                <c:ptCount val="9"/>
                <c:pt idx="0">
                  <c:v>18.265681270446361</c:v>
                </c:pt>
                <c:pt idx="1">
                  <c:v>16.027685234195804</c:v>
                </c:pt>
                <c:pt idx="2">
                  <c:v>10.35692074674989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B$2:$B$7</c:f>
              <c:numCache>
                <c:formatCode>General</c:formatCode>
                <c:ptCount val="6"/>
                <c:pt idx="3">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C$2:$C$7</c:f>
              <c:numCache>
                <c:formatCode>General</c:formatCode>
                <c:ptCount val="6"/>
                <c:pt idx="2">
                  <c:v>9.849046096996501</c:v>
                </c:pt>
                <c:pt idx="5">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D$2:$D$7</c:f>
              <c:numCache>
                <c:formatCode>General</c:formatCode>
                <c:ptCount val="6"/>
                <c:pt idx="1">
                  <c:v>10.4536263478056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E$2:$E$7</c:f>
              <c:numCache>
                <c:formatCode>General</c:formatCode>
                <c:ptCount val="6"/>
                <c:pt idx="0">
                  <c:v>16.580165436271457</c:v>
                </c:pt>
                <c:pt idx="4">
                  <c:v>13.1744609353122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F$2:$F$7</c:f>
              <c:numCache>
                <c:formatCode>General</c:formatCode>
                <c:ptCount val="6"/>
                <c:pt idx="0">
                  <c:v>23.650441326307515</c:v>
                </c:pt>
                <c:pt idx="1">
                  <c:v>17.307614096891065</c:v>
                </c:pt>
                <c:pt idx="3">
                  <c:v>14.821070599370616</c:v>
                </c:pt>
                <c:pt idx="4">
                  <c:v>17.358319224257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G$2:$G$7</c:f>
              <c:numCache>
                <c:formatCode>General</c:formatCode>
                <c:ptCount val="6"/>
                <c:pt idx="0">
                  <c:v>21.992953144400637</c:v>
                </c:pt>
                <c:pt idx="1">
                  <c:v>22.957207396806691</c:v>
                </c:pt>
                <c:pt idx="2">
                  <c:v>16.539010607712896</c:v>
                </c:pt>
                <c:pt idx="5">
                  <c:v>16.2648260401457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33333333333333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774358105134834</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665875743195331</c:v>
                </c:pt>
                <c:pt idx="1">
                  <c:v>13.946127992985923</c:v>
                </c:pt>
                <c:pt idx="2">
                  <c:v>11.537165123005963</c:v>
                </c:pt>
                <c:pt idx="3">
                  <c:v>12.145933759326383</c:v>
                </c:pt>
                <c:pt idx="4">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286261941637404</c:v>
                </c:pt>
                <c:pt idx="3">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721646537554491</c:v>
                </c:pt>
                <c:pt idx="5">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370282040647034</c:v>
                </c:pt>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60195428372011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30847194331831</c:v>
                </c:pt>
                <c:pt idx="2">
                  <c:v>10.851963768709204</c:v>
                </c:pt>
                <c:pt idx="3">
                  <c:v>12.001885592593688</c:v>
                </c:pt>
                <c:pt idx="4">
                  <c:v>19.5065086143425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102946590663841</c:v>
                </c:pt>
                <c:pt idx="1">
                  <c:v>28.415660496424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17365269461078</c:v>
                </c:pt>
                <c:pt idx="2">
                  <c:v>19.81335032971343</c:v>
                </c:pt>
                <c:pt idx="3">
                  <c:v>18.26923076923077</c:v>
                </c:pt>
                <c:pt idx="5">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06054591206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207515299199736</c:v>
                </c:pt>
                <c:pt idx="2">
                  <c:v>4.87215388641716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4279805692175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B$2:$B$8</c:f>
              <c:numCache>
                <c:formatCode>General</c:formatCode>
                <c:ptCount val="7"/>
                <c:pt idx="2">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C$2:$C$8</c:f>
              <c:numCache>
                <c:formatCode>General</c:formatCode>
                <c:ptCount val="7"/>
                <c:pt idx="0">
                  <c:v>12.069904268084708</c:v>
                </c:pt>
                <c:pt idx="1">
                  <c:v>9.9189749301666783</c:v>
                </c:pt>
                <c:pt idx="2">
                  <c:v>9.9504224673469732</c:v>
                </c:pt>
                <c:pt idx="3">
                  <c:v>10.17877306763623</c:v>
                </c:pt>
                <c:pt idx="4">
                  <c:v>9.2833767303155739</c:v>
                </c:pt>
                <c:pt idx="5">
                  <c:v>5.7501761566008049</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D$2:$D$8</c:f>
              <c:numCache>
                <c:formatCode>General</c:formatCode>
                <c:ptCount val="7"/>
                <c:pt idx="2">
                  <c:v>8.6736707292312012</c:v>
                </c:pt>
                <c:pt idx="3">
                  <c:v>9.83580015707122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E$2:$E$8</c:f>
              <c:numCache>
                <c:formatCode>General</c:formatCode>
                <c:ptCount val="7"/>
                <c:pt idx="0">
                  <c:v>11.986608673504374</c:v>
                </c:pt>
                <c:pt idx="4">
                  <c:v>12.9675547161426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F$2:$F$8</c:f>
              <c:numCache>
                <c:formatCode>General</c:formatCode>
                <c:ptCount val="7"/>
                <c:pt idx="0">
                  <c:v>19.94113627128661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86548334369316</c:v>
                </c:pt>
                <c:pt idx="3">
                  <c:v>24.9044019266791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7983102137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21331802692142</c:v>
                </c:pt>
                <c:pt idx="1">
                  <c:v>9.9711573332034629</c:v>
                </c:pt>
                <c:pt idx="3">
                  <c:v>8.9820572026848247</c:v>
                </c:pt>
                <c:pt idx="4">
                  <c:v>14.532611257646332</c:v>
                </c:pt>
                <c:pt idx="5">
                  <c:v>6.9642050112519769</c:v>
                </c:pt>
                <c:pt idx="6">
                  <c:v>9.80906730460658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226682960046031</c:v>
                </c:pt>
                <c:pt idx="2">
                  <c:v>23.058122603951638</c:v>
                </c:pt>
                <c:pt idx="4">
                  <c:v>18.225719673161535</c:v>
                </c:pt>
                <c:pt idx="5">
                  <c:v>9.00589046944318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92719741613259</c:v>
                </c:pt>
                <c:pt idx="3">
                  <c:v>16.91405862546005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B$2:$B$4</c:f>
              <c:numCache>
                <c:formatCode>General</c:formatCode>
                <c:ptCount val="3"/>
                <c:pt idx="0">
                  <c:v>6.5580805122798793</c:v>
                </c:pt>
                <c:pt idx="1">
                  <c:v>6.0818006430868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C$2:$C$4</c:f>
              <c:numCache>
                <c:formatCode>General</c:formatCode>
                <c:ptCount val="3"/>
                <c:pt idx="0">
                  <c:v>9.29472477064220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D$2:$D$4</c:f>
              <c:numCache>
                <c:formatCode>General</c:formatCode>
                <c:ptCount val="3"/>
                <c:pt idx="0">
                  <c:v>6.62598870056497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9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E$2:$E$4</c:f>
              <c:numCache>
                <c:formatCode>General</c:formatCode>
                <c:ptCount val="3"/>
                <c:pt idx="2">
                  <c:v>15.87177950868783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66CE46-53C4-4C5F-A62D-A72F84CA5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CEAF15-57B5-4D95-AEBD-0CF710F56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F043B3-5011-4C3B-B089-AD505F91A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34C444-0349-437B-8B94-0ECC5903A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2E625A-46A5-41A9-96AC-F65B5A31B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8B8DF0-602D-405D-BAF0-0CA79902F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68D4F1-7ECA-4228-BD72-B2BDFE1D6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20CC5F-E085-4669-A2D4-4D0672233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966513572533199</c:v>
                </c:pt>
                <c:pt idx="1">
                  <c:v>18.956528279181711</c:v>
                </c:pt>
                <c:pt idx="2">
                  <c:v>12.37261229829917</c:v>
                </c:pt>
                <c:pt idx="3">
                  <c:v>12.932635956897091</c:v>
                </c:pt>
                <c:pt idx="4">
                  <c:v>15.31469002695418</c:v>
                </c:pt>
                <c:pt idx="5">
                  <c:v>14.030491951938339</c:v>
                </c:pt>
              </c:numCache>
            </c:numRef>
          </c:xVal>
          <c:yVal>
            <c:numRef>
              <c:f>Sheet1!$B$2:$B$7</c:f>
              <c:numCache>
                <c:formatCode>General</c:formatCode>
                <c:ptCount val="6"/>
                <c:pt idx="0">
                  <c:v>1.1877507906136211</c:v>
                </c:pt>
                <c:pt idx="1">
                  <c:v>1.0881492267493169</c:v>
                </c:pt>
                <c:pt idx="2">
                  <c:v>0.76141029309856745</c:v>
                </c:pt>
                <c:pt idx="3">
                  <c:v>0.70250014189280241</c:v>
                </c:pt>
                <c:pt idx="4">
                  <c:v>1.1073535177703799</c:v>
                </c:pt>
                <c:pt idx="5">
                  <c:v>0.49138503532103428</c:v>
                </c:pt>
              </c:numCache>
            </c:numRef>
          </c:yVal>
          <c:bubbleSize>
            <c:numRef>
              <c:f>Sheet1!$C$2:$C$7</c:f>
              <c:numCache>
                <c:formatCode>General</c:formatCode>
                <c:ptCount val="6"/>
                <c:pt idx="0">
                  <c:v>2311913</c:v>
                </c:pt>
                <c:pt idx="1">
                  <c:v>630115</c:v>
                </c:pt>
                <c:pt idx="2">
                  <c:v>425556</c:v>
                </c:pt>
                <c:pt idx="3">
                  <c:v>410456</c:v>
                </c:pt>
                <c:pt idx="4">
                  <c:v>340905</c:v>
                </c:pt>
                <c:pt idx="5">
                  <c:v>12377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B$2:$B$9</c:f>
              <c:numCache>
                <c:formatCode>General</c:formatCode>
                <c:ptCount val="8"/>
                <c:pt idx="5">
                  <c:v>18.910897715699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C$2:$C$9</c:f>
              <c:numCache>
                <c:formatCode>General</c:formatCode>
                <c:ptCount val="8"/>
                <c:pt idx="1">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D$2:$D$9</c:f>
              <c:numCache>
                <c:formatCode>General</c:formatCode>
                <c:ptCount val="8"/>
                <c:pt idx="1">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F$2:$F$9</c:f>
              <c:numCache>
                <c:formatCode>General</c:formatCode>
                <c:ptCount val="8"/>
                <c:pt idx="0">
                  <c:v>11.60168982398732</c:v>
                </c:pt>
                <c:pt idx="3">
                  <c:v>8.8702207413577678</c:v>
                </c:pt>
                <c:pt idx="4">
                  <c:v>9.92895307893874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G$2:$G$9</c:f>
              <c:numCache>
                <c:formatCode>General</c:formatCode>
                <c:ptCount val="8"/>
                <c:pt idx="0">
                  <c:v>16.618412533989382</c:v>
                </c:pt>
                <c:pt idx="5">
                  <c:v>10.01321663019693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H$2:$H$9</c:f>
              <c:numCache>
                <c:formatCode>General</c:formatCode>
                <c:ptCount val="8"/>
                <c:pt idx="0">
                  <c:v>19.105053926191658</c:v>
                </c:pt>
                <c:pt idx="1">
                  <c:v>6.6433171864511333</c:v>
                </c:pt>
                <c:pt idx="2">
                  <c:v>20.301998584109349</c:v>
                </c:pt>
                <c:pt idx="3">
                  <c:v>21.267726676077967</c:v>
                </c:pt>
                <c:pt idx="4">
                  <c:v>14.597295316767704</c:v>
                </c:pt>
                <c:pt idx="6">
                  <c:v>12.988260000506035</c:v>
                </c:pt>
                <c:pt idx="7">
                  <c:v>14.5192373443816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I$2:$I$9</c:f>
              <c:numCache>
                <c:formatCode>General</c:formatCode>
                <c:ptCount val="8"/>
                <c:pt idx="2">
                  <c:v>15.9604386173146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J$2:$J$9</c:f>
              <c:numCache>
                <c:formatCode>General</c:formatCode>
                <c:ptCount val="8"/>
                <c:pt idx="0">
                  <c:v>18.265681270446361</c:v>
                </c:pt>
                <c:pt idx="1">
                  <c:v>10.364196847876865</c:v>
                </c:pt>
                <c:pt idx="3">
                  <c:v>16.6061572956191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Hydro Silk</c:v>
                </c:pt>
                <c:pt idx="3">
                  <c:v>Intuition</c:v>
                </c:pt>
                <c:pt idx="4">
                  <c:v>Flamingo</c:v>
                </c:pt>
                <c:pt idx="5">
                  <c:v>Joy</c:v>
                </c:pt>
              </c:strCache>
            </c:strRef>
          </c:cat>
          <c:val>
            <c:numRef>
              <c:f>Sheet1!$B$2:$B$7</c:f>
              <c:numCache>
                <c:formatCode>General</c:formatCode>
                <c:ptCount val="6"/>
                <c:pt idx="1">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C$2:$C$7</c:f>
              <c:numCache>
                <c:formatCode>General</c:formatCode>
                <c:ptCount val="6"/>
                <c:pt idx="0">
                  <c:v>16.074312915449134</c:v>
                </c:pt>
                <c:pt idx="2">
                  <c:v>13.2808860847498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D$2:$D$7</c:f>
              <c:numCache>
                <c:formatCode>General</c:formatCode>
                <c:ptCount val="6"/>
                <c:pt idx="0">
                  <c:v>23.785473769317786</c:v>
                </c:pt>
                <c:pt idx="2">
                  <c:v>17.384318098303325</c:v>
                </c:pt>
                <c:pt idx="4">
                  <c:v>14.8210705993706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E$2:$E$7</c:f>
              <c:numCache>
                <c:formatCode>General</c:formatCode>
                <c:ptCount val="6"/>
                <c:pt idx="0">
                  <c:v>21.992953144400637</c:v>
                </c:pt>
                <c:pt idx="1">
                  <c:v>16.652576102769618</c:v>
                </c:pt>
                <c:pt idx="3">
                  <c:v>23.0929504921899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33333333333333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774358105134834</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665875743195331</c:v>
                </c:pt>
                <c:pt idx="1">
                  <c:v>13.946127992985923</c:v>
                </c:pt>
                <c:pt idx="2">
                  <c:v>11.537165123005963</c:v>
                </c:pt>
                <c:pt idx="3">
                  <c:v>12.145933759326383</c:v>
                </c:pt>
                <c:pt idx="4">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286261941637404</c:v>
                </c:pt>
                <c:pt idx="3">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721646537554491</c:v>
                </c:pt>
                <c:pt idx="5">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370282040647034</c:v>
                </c:pt>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60195428372011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30847194331831</c:v>
                </c:pt>
                <c:pt idx="2">
                  <c:v>10.851963768709204</c:v>
                </c:pt>
                <c:pt idx="3">
                  <c:v>12.001885592593688</c:v>
                </c:pt>
                <c:pt idx="4">
                  <c:v>19.5065086143425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102946590663841</c:v>
                </c:pt>
                <c:pt idx="1">
                  <c:v>28.415660496424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17365269461078</c:v>
                </c:pt>
                <c:pt idx="2">
                  <c:v>19.81335032971343</c:v>
                </c:pt>
                <c:pt idx="3">
                  <c:v>18.26923076923077</c:v>
                </c:pt>
                <c:pt idx="5">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46419291133977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1879716184254985</c:v>
                </c:pt>
                <c:pt idx="2">
                  <c:v>4.7790889780505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649162516976007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B$2:$B$8</c:f>
              <c:numCache>
                <c:formatCode>General</c:formatCode>
                <c:ptCount val="7"/>
                <c:pt idx="1">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C$2:$C$8</c:f>
              <c:numCache>
                <c:formatCode>General</c:formatCode>
                <c:ptCount val="7"/>
                <c:pt idx="0">
                  <c:v>11.984586343096131</c:v>
                </c:pt>
                <c:pt idx="1">
                  <c:v>9.9705962428532526</c:v>
                </c:pt>
                <c:pt idx="2">
                  <c:v>10.257570761198131</c:v>
                </c:pt>
                <c:pt idx="3">
                  <c:v>9.9210495405549484</c:v>
                </c:pt>
                <c:pt idx="4">
                  <c:v>9.2889149789648755</c:v>
                </c:pt>
                <c:pt idx="5">
                  <c:v>5.851005917159763</c:v>
                </c:pt>
                <c:pt idx="6">
                  <c:v>10.0454959053685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D$2:$D$8</c:f>
              <c:numCache>
                <c:formatCode>General</c:formatCode>
                <c:ptCount val="7"/>
                <c:pt idx="1">
                  <c:v>8.8984687083888154</c:v>
                </c:pt>
                <c:pt idx="2">
                  <c:v>9.98221972674527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E$2:$E$8</c:f>
              <c:numCache>
                <c:formatCode>General</c:formatCode>
                <c:ptCount val="7"/>
                <c:pt idx="4">
                  <c:v>12.9703514045048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F$2:$F$8</c:f>
              <c:numCache>
                <c:formatCode>General</c:formatCode>
                <c:ptCount val="7"/>
                <c:pt idx="0">
                  <c:v>19.98842691813116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1">
                  <c:v>13.8275120957473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0">
                  <c:v>16.55577987590452</c:v>
                </c:pt>
                <c:pt idx="2">
                  <c:v>9.9828078170546455</c:v>
                </c:pt>
                <c:pt idx="3">
                  <c:v>8.999840216322518</c:v>
                </c:pt>
                <c:pt idx="4">
                  <c:v>14.621397110842329</c:v>
                </c:pt>
                <c:pt idx="5">
                  <c:v>7.0202118015493653</c:v>
                </c:pt>
                <c:pt idx="6">
                  <c:v>9.91179728607034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23.987174820683009</c:v>
                </c:pt>
                <c:pt idx="1">
                  <c:v>23.205772580243842</c:v>
                </c:pt>
                <c:pt idx="4">
                  <c:v>18.507378280463019</c:v>
                </c:pt>
                <c:pt idx="5">
                  <c:v>9.15709859154929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2">
                  <c:v>17.026376200515344</c:v>
                </c:pt>
                <c:pt idx="3">
                  <c:v>17.01246719160105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Easyrinse</c:v>
                </c:pt>
                <c:pt idx="1">
                  <c:v>Intuition</c:v>
                </c:pt>
                <c:pt idx="2">
                  <c:v>Bic Soleil</c:v>
                </c:pt>
              </c:strCache>
            </c:strRef>
          </c:cat>
          <c:val>
            <c:numRef>
              <c:f>Sheet1!$B$2:$B$4</c:f>
              <c:numCache>
                <c:formatCode>General</c:formatCode>
                <c:ptCount val="3"/>
                <c:pt idx="2">
                  <c:v>8.74433962264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Intuition</c:v>
                </c:pt>
                <c:pt idx="2">
                  <c:v>Bic Soleil</c:v>
                </c:pt>
              </c:strCache>
            </c:strRef>
          </c:cat>
          <c:val>
            <c:numRef>
              <c:f>Sheet1!$C$2:$C$4</c:f>
              <c:numCache>
                <c:formatCode>General</c:formatCode>
                <c:ptCount val="3"/>
                <c:pt idx="1">
                  <c:v>4.18775344687753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Intuition</c:v>
                </c:pt>
                <c:pt idx="2">
                  <c:v>Bic Soleil</c:v>
                </c:pt>
              </c:strCache>
            </c:strRef>
          </c:cat>
          <c:val>
            <c:numRef>
              <c:f>Sheet1!$D$2:$D$4</c:f>
              <c:numCache>
                <c:formatCode>General</c:formatCode>
                <c:ptCount val="3"/>
                <c:pt idx="0">
                  <c:v>6.19637408005744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Billie</c:v>
                </c:pt>
                <c:pt idx="3">
                  <c:v>Intuition</c:v>
                </c:pt>
                <c:pt idx="4">
                  <c:v>Joy</c:v>
                </c:pt>
                <c:pt idx="5">
                  <c:v>Pbg Pl</c:v>
                </c:pt>
              </c:strCache>
            </c:strRef>
          </c:cat>
          <c:val>
            <c:numRef>
              <c:f>Sheet1!$B$2:$B$7</c:f>
              <c:numCache>
                <c:formatCode>General</c:formatCode>
                <c:ptCount val="6"/>
                <c:pt idx="1">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C$2:$C$7</c:f>
              <c:numCache>
                <c:formatCode>General</c:formatCode>
                <c:ptCount val="6"/>
                <c:pt idx="0">
                  <c:v>11.352756705618528</c:v>
                </c:pt>
                <c:pt idx="1">
                  <c:v>9.9544230004858019</c:v>
                </c:pt>
                <c:pt idx="2">
                  <c:v>9.9684294909579609</c:v>
                </c:pt>
                <c:pt idx="3">
                  <c:v>10.165068903535051</c:v>
                </c:pt>
                <c:pt idx="4">
                  <c:v>9.0508229589219944</c:v>
                </c:pt>
                <c:pt idx="5">
                  <c:v>5.73933272809804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D$2:$D$7</c:f>
              <c:numCache>
                <c:formatCode>General</c:formatCode>
                <c:ptCount val="6"/>
                <c:pt idx="1">
                  <c:v>7.3226427196921104</c:v>
                </c:pt>
                <c:pt idx="3">
                  <c:v>9.80585259127581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E$2:$E$7</c:f>
              <c:numCache>
                <c:formatCode>General</c:formatCode>
                <c:ptCount val="6"/>
                <c:pt idx="4">
                  <c:v>12.94037940379403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ABF52B-A1A7-48B7-83CE-35AA24B99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781A5E-688F-44A9-B78A-AD9DF267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FA4A50-1069-46B6-87B5-A8BF2B147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9F73C1-D4C2-4774-BC68-32CF2B56C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439BF6-28BA-459E-84B9-3D12202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ED132A-1C25-4C1D-950C-54C52CE9F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4EB5D9-5833-4D8C-8BDA-D0E14F664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B23862-47EC-4279-884C-5E9A7DEA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0962741997634833</c:v>
                </c:pt>
                <c:pt idx="1">
                  <c:v>7.9001954490846167</c:v>
                </c:pt>
                <c:pt idx="2">
                  <c:v>12.384390718805779</c:v>
                </c:pt>
                <c:pt idx="3">
                  <c:v>14.32145080946451</c:v>
                </c:pt>
                <c:pt idx="4">
                  <c:v>13.507673034763551</c:v>
                </c:pt>
              </c:numCache>
            </c:numRef>
          </c:xVal>
          <c:yVal>
            <c:numRef>
              <c:f>Sheet1!$B$2:$B$6</c:f>
              <c:numCache>
                <c:formatCode>General</c:formatCode>
                <c:ptCount val="5"/>
                <c:pt idx="0">
                  <c:v>1.055829891855633</c:v>
                </c:pt>
                <c:pt idx="1">
                  <c:v>0.85725783275001033</c:v>
                </c:pt>
                <c:pt idx="2">
                  <c:v>1.745595455322783</c:v>
                </c:pt>
                <c:pt idx="3">
                  <c:v>0.51896913028531666</c:v>
                </c:pt>
                <c:pt idx="4">
                  <c:v>1.952757174236784</c:v>
                </c:pt>
              </c:numCache>
            </c:numRef>
          </c:yVal>
          <c:bubbleSize>
            <c:numRef>
              <c:f>Sheet1!$C$2:$C$6</c:f>
              <c:numCache>
                <c:formatCode>General</c:formatCode>
                <c:ptCount val="5"/>
                <c:pt idx="0">
                  <c:v>1369153</c:v>
                </c:pt>
                <c:pt idx="1">
                  <c:v>440586</c:v>
                </c:pt>
                <c:pt idx="2">
                  <c:v>152650</c:v>
                </c:pt>
                <c:pt idx="3">
                  <c:v>92001</c:v>
                </c:pt>
                <c:pt idx="4">
                  <c:v>43130</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Joy</c:v>
                </c:pt>
                <c:pt idx="4">
                  <c:v>Hydro Silk</c:v>
                </c:pt>
                <c:pt idx="5">
                  <c:v>Pbg Pl</c:v>
                </c:pt>
              </c:strCache>
            </c:strRef>
          </c:cat>
          <c:val>
            <c:numRef>
              <c:f>Sheet1!$B$2:$B$7</c:f>
              <c:numCache>
                <c:formatCode>General</c:formatCode>
                <c:ptCount val="6"/>
                <c:pt idx="2">
                  <c:v>13.8585303929383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C$2:$C$7</c:f>
              <c:numCache>
                <c:formatCode>General</c:formatCode>
                <c:ptCount val="6"/>
                <c:pt idx="0">
                  <c:v>16.121327286663259</c:v>
                </c:pt>
                <c:pt idx="1">
                  <c:v>9.9699122517164156</c:v>
                </c:pt>
                <c:pt idx="3">
                  <c:v>8.9796706056520481</c:v>
                </c:pt>
                <c:pt idx="4">
                  <c:v>14.540437412750116</c:v>
                </c:pt>
                <c:pt idx="5">
                  <c:v>6.92421500316713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D$2:$D$7</c:f>
              <c:numCache>
                <c:formatCode>General</c:formatCode>
                <c:ptCount val="6"/>
                <c:pt idx="0">
                  <c:v>23.574659171674096</c:v>
                </c:pt>
                <c:pt idx="2">
                  <c:v>23.306285334220153</c:v>
                </c:pt>
                <c:pt idx="5">
                  <c:v>8.9870146734190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E$2:$E$7</c:f>
              <c:numCache>
                <c:formatCode>General</c:formatCode>
                <c:ptCount val="6"/>
                <c:pt idx="1">
                  <c:v>16.879865449303221</c:v>
                </c:pt>
                <c:pt idx="3">
                  <c:v>16.89952857984678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328664895456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264475866972111</c:v>
                </c:pt>
                <c:pt idx="2">
                  <c:v>4.95939660590823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140037722047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B$2:$B$8</c:f>
              <c:numCache>
                <c:formatCode>General</c:formatCode>
                <c:ptCount val="7"/>
                <c:pt idx="2">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C$2:$C$8</c:f>
              <c:numCache>
                <c:formatCode>General</c:formatCode>
                <c:ptCount val="7"/>
                <c:pt idx="0">
                  <c:v>12.115860439720565</c:v>
                </c:pt>
                <c:pt idx="1">
                  <c:v>9.9166174496644288</c:v>
                </c:pt>
                <c:pt idx="2">
                  <c:v>9.9472895640412027</c:v>
                </c:pt>
                <c:pt idx="3">
                  <c:v>10.170786383282243</c:v>
                </c:pt>
                <c:pt idx="4">
                  <c:v>9.2934581361859703</c:v>
                </c:pt>
                <c:pt idx="5">
                  <c:v>9.9969719011826825</c:v>
                </c:pt>
                <c:pt idx="6">
                  <c:v>5.7358688046301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D$2:$D$8</c:f>
              <c:numCache>
                <c:formatCode>General</c:formatCode>
                <c:ptCount val="7"/>
                <c:pt idx="2">
                  <c:v>8.6923509526546407</c:v>
                </c:pt>
                <c:pt idx="3">
                  <c:v>9.8132696597963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E$2:$E$8</c:f>
              <c:numCache>
                <c:formatCode>General</c:formatCode>
                <c:ptCount val="7"/>
                <c:pt idx="0">
                  <c:v>11.997293775684073</c:v>
                </c:pt>
                <c:pt idx="4">
                  <c:v>12.9681574333342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F$2:$F$8</c:f>
              <c:numCache>
                <c:formatCode>General</c:formatCode>
                <c:ptCount val="7"/>
                <c:pt idx="0">
                  <c:v>19.94080547425697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77091266429186</c:v>
                </c:pt>
                <c:pt idx="3">
                  <c:v>24.8877481177275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78808442530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34626278136351</c:v>
                </c:pt>
                <c:pt idx="1">
                  <c:v>9.9700878895583678</c:v>
                </c:pt>
                <c:pt idx="3">
                  <c:v>8.9804916555203054</c:v>
                </c:pt>
                <c:pt idx="4">
                  <c:v>14.51866726674935</c:v>
                </c:pt>
                <c:pt idx="5">
                  <c:v>6.9591085502829539</c:v>
                </c:pt>
                <c:pt idx="6">
                  <c:v>9.79975658557100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293867459836314</c:v>
                </c:pt>
                <c:pt idx="2">
                  <c:v>23.034764162061652</c:v>
                </c:pt>
                <c:pt idx="4">
                  <c:v>18.202821422537589</c:v>
                </c:pt>
                <c:pt idx="5">
                  <c:v>8.9872471835847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Hydro Silk</c:v>
                </c:pt>
                <c:pt idx="4">
                  <c:v>Billie</c:v>
                </c:pt>
                <c:pt idx="5">
                  <c:v>Quattro</c:v>
                </c:pt>
              </c:strCache>
            </c:strRef>
          </c:cat>
          <c:val>
            <c:numRef>
              <c:f>Sheet1!$B$2:$B$7</c:f>
              <c:numCache>
                <c:formatCode>General</c:formatCode>
                <c:ptCount val="6"/>
                <c:pt idx="0">
                  <c:v>13.217967599410898</c:v>
                </c:pt>
                <c:pt idx="3">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C$2:$C$7</c:f>
              <c:numCache>
                <c:formatCode>General</c:formatCode>
                <c:ptCount val="6"/>
                <c:pt idx="0">
                  <c:v>14.575242910182478</c:v>
                </c:pt>
                <c:pt idx="1">
                  <c:v>13.955336617405584</c:v>
                </c:pt>
                <c:pt idx="2">
                  <c:v>12.053743683968765</c:v>
                </c:pt>
                <c:pt idx="3">
                  <c:v>12.265584415584415</c:v>
                </c:pt>
                <c:pt idx="4">
                  <c:v>11.62807312460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D$2:$D$7</c:f>
              <c:numCache>
                <c:formatCode>General</c:formatCode>
                <c:ptCount val="6"/>
                <c:pt idx="1">
                  <c:v>14.260528194147037</c:v>
                </c:pt>
                <c:pt idx="3">
                  <c:v>12.169066666666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E$2:$E$7</c:f>
              <c:numCache>
                <c:formatCode>General</c:formatCode>
                <c:ptCount val="6"/>
                <c:pt idx="5">
                  <c:v>12.8313856427378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F$2:$F$7</c:f>
              <c:numCache>
                <c:formatCode>General</c:formatCode>
                <c:ptCount val="6"/>
                <c:pt idx="2">
                  <c:v>17.557203389830509</c:v>
                </c:pt>
                <c:pt idx="5">
                  <c:v>12.81547619047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Hydro Silk</c:v>
                </c:pt>
                <c:pt idx="4">
                  <c:v>Billie</c:v>
                </c:pt>
                <c:pt idx="5">
                  <c:v>Quattro</c:v>
                </c:pt>
              </c:strCache>
            </c:strRef>
          </c:cat>
          <c:val>
            <c:numRef>
              <c:f>Sheet1!$G$2:$G$7</c:f>
              <c:numCache>
                <c:formatCode>General</c:formatCode>
                <c:ptCount val="6"/>
                <c:pt idx="0">
                  <c:v>21.88352745424292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4943872778297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87906395141123</c:v>
                </c:pt>
                <c:pt idx="2">
                  <c:v>10.676574307304787</c:v>
                </c:pt>
                <c:pt idx="3">
                  <c:v>12.10787269681742</c:v>
                </c:pt>
                <c:pt idx="4">
                  <c:v>20.0368217054263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8.631818181818183</c:v>
                </c:pt>
                <c:pt idx="1">
                  <c:v>28.567107750472591</c:v>
                </c:pt>
                <c:pt idx="5">
                  <c:v>17.090909090909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4.663780663780663</c:v>
                </c:pt>
                <c:pt idx="2">
                  <c:v>19.742857142857144</c:v>
                </c:pt>
                <c:pt idx="3">
                  <c:v>18.406807131280388</c:v>
                </c:pt>
                <c:pt idx="5">
                  <c:v>15.09779951100244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3.1294738649043</c:v>
                </c:pt>
                <c:pt idx="3">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848313578791144</c:v>
                </c:pt>
                <c:pt idx="1">
                  <c:v>14.25393334461174</c:v>
                </c:pt>
                <c:pt idx="2">
                  <c:v>11.672558922558922</c:v>
                </c:pt>
                <c:pt idx="3">
                  <c:v>12.41154163231657</c:v>
                </c:pt>
                <c:pt idx="4">
                  <c:v>12.1880561597785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61625744047619</c:v>
                </c:pt>
                <c:pt idx="3">
                  <c:v>12.09490538573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2.124773960216999</c:v>
                </c:pt>
                <c:pt idx="5">
                  <c:v>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538305084745762</c:v>
                </c:pt>
                <c:pt idx="5">
                  <c:v>12.8292873923257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9664991624790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362487611496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562710930504856</c:v>
                </c:pt>
                <c:pt idx="2">
                  <c:v>11.111595846784748</c:v>
                </c:pt>
                <c:pt idx="3">
                  <c:v>12.201212121212121</c:v>
                </c:pt>
                <c:pt idx="4">
                  <c:v>19.3850974930362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669352239767967</c:v>
                </c:pt>
                <c:pt idx="1">
                  <c:v>28.6491294473883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752068965517243</c:v>
                </c:pt>
                <c:pt idx="2">
                  <c:v>19.920683007435969</c:v>
                </c:pt>
                <c:pt idx="3">
                  <c:v>18.457153642884109</c:v>
                </c:pt>
                <c:pt idx="5">
                  <c:v>15.2428491306786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74D382-714A-4EE6-92E6-C79BC7B98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0FAAA6-8246-42B8-A5DF-1D1931E00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F93B0D-A513-490C-BD6B-BF2AFD5F0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BF91CB-9351-49FB-9DB8-CBAD8B5D9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C3759B-7297-446F-8ECF-B79EBDF3C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8DC344-FC1F-46A9-82EF-2A45AD0ED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04FE78-210F-412B-8C44-1CB002071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34ADE7-C3A8-4DC1-B706-BEC37E16B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4851772333682</c:v>
                </c:pt>
                <c:pt idx="1">
                  <c:v>18.108888023152272</c:v>
                </c:pt>
                <c:pt idx="2">
                  <c:v>12.015577916487301</c:v>
                </c:pt>
                <c:pt idx="3">
                  <c:v>12.471323805942079</c:v>
                </c:pt>
                <c:pt idx="4">
                  <c:v>14.561989232735581</c:v>
                </c:pt>
                <c:pt idx="5">
                  <c:v>13.5013698630137</c:v>
                </c:pt>
              </c:numCache>
            </c:numRef>
          </c:xVal>
          <c:yVal>
            <c:numRef>
              <c:f>Sheet1!$B$2:$B$7</c:f>
              <c:numCache>
                <c:formatCode>General</c:formatCode>
                <c:ptCount val="6"/>
                <c:pt idx="0">
                  <c:v>1.1847212894675969</c:v>
                </c:pt>
                <c:pt idx="1">
                  <c:v>1.1028586291886791</c:v>
                </c:pt>
                <c:pt idx="2">
                  <c:v>0.77199134114830037</c:v>
                </c:pt>
                <c:pt idx="3">
                  <c:v>0.70972072645503226</c:v>
                </c:pt>
                <c:pt idx="4">
                  <c:v>1.0676041186219469</c:v>
                </c:pt>
                <c:pt idx="5">
                  <c:v>0.48548337297863559</c:v>
                </c:pt>
              </c:numCache>
            </c:numRef>
          </c:yVal>
          <c:bubbleSize>
            <c:numRef>
              <c:f>Sheet1!$C$2:$C$7</c:f>
              <c:numCache>
                <c:formatCode>General</c:formatCode>
                <c:ptCount val="6"/>
                <c:pt idx="0">
                  <c:v>2345518</c:v>
                </c:pt>
                <c:pt idx="1">
                  <c:v>650761</c:v>
                </c:pt>
                <c:pt idx="2">
                  <c:v>446595</c:v>
                </c:pt>
                <c:pt idx="3">
                  <c:v>397935</c:v>
                </c:pt>
                <c:pt idx="4">
                  <c:v>375976</c:v>
                </c:pt>
                <c:pt idx="5">
                  <c:v>128128</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B$2:$B$7</c:f>
              <c:numCache>
                <c:formatCode>General</c:formatCode>
                <c:ptCount val="6"/>
                <c:pt idx="0">
                  <c:v>12.001602946693495</c:v>
                </c:pt>
                <c:pt idx="2">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C$2:$C$7</c:f>
              <c:numCache>
                <c:formatCode>General</c:formatCode>
                <c:ptCount val="6"/>
                <c:pt idx="0">
                  <c:v>14.044954110935144</c:v>
                </c:pt>
                <c:pt idx="1">
                  <c:v>13.456990814987607</c:v>
                </c:pt>
                <c:pt idx="2">
                  <c:v>11.956923535549262</c:v>
                </c:pt>
                <c:pt idx="3">
                  <c:v>11.341700442151806</c:v>
                </c:pt>
                <c:pt idx="4">
                  <c:v>11.8970964147604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D$2:$D$7</c:f>
              <c:numCache>
                <c:formatCode>General</c:formatCode>
                <c:ptCount val="6"/>
                <c:pt idx="1">
                  <c:v>13.788162614587485</c:v>
                </c:pt>
                <c:pt idx="2">
                  <c:v>11.69246905810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E$2:$E$7</c:f>
              <c:numCache>
                <c:formatCode>General</c:formatCode>
                <c:ptCount val="6"/>
                <c:pt idx="0">
                  <c:v>21.443579766536963</c:v>
                </c:pt>
                <c:pt idx="5">
                  <c:v>12.3021133525456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F$2:$F$7</c:f>
              <c:numCache>
                <c:formatCode>General</c:formatCode>
                <c:ptCount val="6"/>
                <c:pt idx="4">
                  <c:v>17.189100817438693</c:v>
                </c:pt>
                <c:pt idx="5">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G$2:$G$7</c:f>
              <c:numCache>
                <c:formatCode>General</c:formatCode>
                <c:ptCount val="6"/>
                <c:pt idx="0">
                  <c:v>21.0994664634146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8.752690582959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29834193956032</c:v>
                </c:pt>
                <c:pt idx="2">
                  <c:v>11.875994642716458</c:v>
                </c:pt>
                <c:pt idx="3">
                  <c:v>10.445038569424964</c:v>
                </c:pt>
                <c:pt idx="4">
                  <c:v>19.180050188205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7.875378004138149</c:v>
                </c:pt>
                <c:pt idx="1">
                  <c:v>27.8660812294182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207509881422926</c:v>
                </c:pt>
                <c:pt idx="2">
                  <c:v>17.952225841476658</c:v>
                </c:pt>
                <c:pt idx="3">
                  <c:v>19.28462441314554</c:v>
                </c:pt>
                <c:pt idx="5">
                  <c:v>14.70944992947813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3.607253368823823</c:v>
                </c:pt>
                <c:pt idx="4">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5.363255762370381</c:v>
                </c:pt>
                <c:pt idx="1">
                  <c:v>14.5838168347764</c:v>
                </c:pt>
                <c:pt idx="2">
                  <c:v>11.705731384095079</c:v>
                </c:pt>
                <c:pt idx="3">
                  <c:v>12.26519881695695</c:v>
                </c:pt>
                <c:pt idx="4">
                  <c:v>12.30509644514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4.833600810879297</c:v>
                </c:pt>
                <c:pt idx="4">
                  <c:v>12.182028043775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2.161218274111675</c:v>
                </c:pt>
                <c:pt idx="5">
                  <c:v>13.310020242914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3">
                  <c:v>17.771481653506736</c:v>
                </c:pt>
                <c:pt idx="5">
                  <c:v>12.8533731964123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1.94837334321994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47612948592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985820319299453</c:v>
                </c:pt>
                <c:pt idx="2">
                  <c:v>11.149165514616017</c:v>
                </c:pt>
                <c:pt idx="3">
                  <c:v>12.075637182917262</c:v>
                </c:pt>
                <c:pt idx="4">
                  <c:v>20.264631043256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30.175997472208657</c:v>
                </c:pt>
                <c:pt idx="1">
                  <c:v>28.589442312227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567421231495882</c:v>
                </c:pt>
                <c:pt idx="2">
                  <c:v>20.12724065327491</c:v>
                </c:pt>
                <c:pt idx="3">
                  <c:v>18.499681427206117</c:v>
                </c:pt>
                <c:pt idx="5">
                  <c:v>15.12602058927937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3333333333333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550356593483428</c:v>
                </c:pt>
                <c:pt idx="3">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245907997270802</c:v>
                </c:pt>
                <c:pt idx="1">
                  <c:v>13.48972782681799</c:v>
                </c:pt>
                <c:pt idx="2">
                  <c:v>11.320764561629302</c:v>
                </c:pt>
                <c:pt idx="3">
                  <c:v>12.167419765959911</c:v>
                </c:pt>
                <c:pt idx="4">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3.696257446257446</c:v>
                </c:pt>
                <c:pt idx="3">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423387096774192</c:v>
                </c:pt>
                <c:pt idx="5">
                  <c:v>11.8478647686832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6.875028197608842</c:v>
                </c:pt>
                <c:pt idx="5">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0153714773697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8.5984479750206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221838218830012</c:v>
                </c:pt>
                <c:pt idx="2">
                  <c:v>11.843617223666687</c:v>
                </c:pt>
                <c:pt idx="3">
                  <c:v>10.450054965188714</c:v>
                </c:pt>
                <c:pt idx="4">
                  <c:v>18.7636141449629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7.321179700147816</c:v>
                </c:pt>
                <c:pt idx="1">
                  <c:v>27.8271922478765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122892122892122</c:v>
                </c:pt>
                <c:pt idx="2">
                  <c:v>17.854892966360858</c:v>
                </c:pt>
                <c:pt idx="3">
                  <c:v>19.312705817782657</c:v>
                </c:pt>
                <c:pt idx="5">
                  <c:v>14.6723558313938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3.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Intuition</c:v>
                </c:pt>
                <c:pt idx="3">
                  <c:v>Billie</c:v>
                </c:pt>
                <c:pt idx="4">
                  <c:v>Flamingo</c:v>
                </c:pt>
                <c:pt idx="5">
                  <c:v>Quattro</c:v>
                </c:pt>
              </c:strCache>
            </c:strRef>
          </c:cat>
          <c:val>
            <c:numRef>
              <c:f>Sheet1!$B$2:$B$7</c:f>
              <c:numCache>
                <c:formatCode>General</c:formatCode>
                <c:ptCount val="6"/>
                <c:pt idx="0">
                  <c:v>11.702576981873772</c:v>
                </c:pt>
                <c:pt idx="1">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C$2:$C$7</c:f>
              <c:numCache>
                <c:formatCode>General</c:formatCode>
                <c:ptCount val="6"/>
                <c:pt idx="0">
                  <c:v>13.804697662861569</c:v>
                </c:pt>
                <c:pt idx="1">
                  <c:v>11.838520258367586</c:v>
                </c:pt>
                <c:pt idx="2">
                  <c:v>13.390850530836216</c:v>
                </c:pt>
                <c:pt idx="3">
                  <c:v>11.493926785188922</c:v>
                </c:pt>
                <c:pt idx="4">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D$2:$D$7</c:f>
              <c:numCache>
                <c:formatCode>General</c:formatCode>
                <c:ptCount val="6"/>
                <c:pt idx="1">
                  <c:v>11.592205934930282</c:v>
                </c:pt>
                <c:pt idx="2">
                  <c:v>13.6841589014222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E$2:$E$7</c:f>
              <c:numCache>
                <c:formatCode>General</c:formatCode>
                <c:ptCount val="6"/>
                <c:pt idx="0">
                  <c:v>21.337886412652768</c:v>
                </c:pt>
                <c:pt idx="5">
                  <c:v>12.13877381938690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F$2:$F$7</c:f>
              <c:numCache>
                <c:formatCode>General</c:formatCode>
                <c:ptCount val="6"/>
                <c:pt idx="4">
                  <c:v>17.292631578947368</c:v>
                </c:pt>
                <c:pt idx="5">
                  <c:v>12.62190565156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Intuition</c:v>
                </c:pt>
                <c:pt idx="3">
                  <c:v>Billie</c:v>
                </c:pt>
                <c:pt idx="4">
                  <c:v>Flamingo</c:v>
                </c:pt>
                <c:pt idx="5">
                  <c:v>Quattro</c:v>
                </c:pt>
              </c:strCache>
            </c:strRef>
          </c:cat>
          <c:val>
            <c:numRef>
              <c:f>Sheet1!$G$2:$G$7</c:f>
              <c:numCache>
                <c:formatCode>General</c:formatCode>
                <c:ptCount val="6"/>
                <c:pt idx="0">
                  <c:v>21.34934889986529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F7F5FE-8BE5-4FC6-8A86-089F2888D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87E6FA-FF3A-478E-A6C8-18ED13077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BCF8BD-33A9-4108-809E-8DB8FA8E0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E845EB-91E7-4C47-8DCF-1F014261E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18F2AD-FC78-4644-95A8-7402B3F88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0EE75D-6D8D-4EA0-922B-F58440F54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A24D9D-823B-4CFF-960C-D4A9477CB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220891-5C9F-46C2-B2C6-063557F00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625097472483681</c:v>
                </c:pt>
                <c:pt idx="1">
                  <c:v>8.3786734615087646</c:v>
                </c:pt>
                <c:pt idx="2">
                  <c:v>14.96215403435445</c:v>
                </c:pt>
                <c:pt idx="3">
                  <c:v>12.6428994892375</c:v>
                </c:pt>
                <c:pt idx="4">
                  <c:v>13.947111238861741</c:v>
                </c:pt>
              </c:numCache>
            </c:numRef>
          </c:xVal>
          <c:yVal>
            <c:numRef>
              <c:f>Sheet1!$B$2:$B$6</c:f>
              <c:numCache>
                <c:formatCode>General</c:formatCode>
                <c:ptCount val="5"/>
                <c:pt idx="0">
                  <c:v>1.1198523725021701</c:v>
                </c:pt>
                <c:pt idx="1">
                  <c:v>0.8078848509596106</c:v>
                </c:pt>
                <c:pt idx="2">
                  <c:v>0.48095671477024138</c:v>
                </c:pt>
                <c:pt idx="3">
                  <c:v>1.6068081610148239</c:v>
                </c:pt>
                <c:pt idx="4">
                  <c:v>1.792991339964934</c:v>
                </c:pt>
              </c:numCache>
            </c:numRef>
          </c:yVal>
          <c:bubbleSize>
            <c:numRef>
              <c:f>Sheet1!$C$2:$C$6</c:f>
              <c:numCache>
                <c:formatCode>General</c:formatCode>
                <c:ptCount val="5"/>
                <c:pt idx="0">
                  <c:v>5572938</c:v>
                </c:pt>
                <c:pt idx="1">
                  <c:v>1085122</c:v>
                </c:pt>
                <c:pt idx="2">
                  <c:v>587085</c:v>
                </c:pt>
                <c:pt idx="3">
                  <c:v>554467</c:v>
                </c:pt>
                <c:pt idx="4">
                  <c:v>194088</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Daisy</c:v>
                  </c:pt>
                  <c:pt idx="3">
                    <c:v>Hydro Silk</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9.2601716025463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612158248662446</c:v>
                </c:pt>
                <c:pt idx="2">
                  <c:v>12.012946058091286</c:v>
                </c:pt>
                <c:pt idx="3">
                  <c:v>10.615080789946139</c:v>
                </c:pt>
                <c:pt idx="4">
                  <c:v>18.1367330677290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8.284319707138501</c:v>
                </c:pt>
                <c:pt idx="1">
                  <c:v>28.5206929740134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597437266417511</c:v>
                </c:pt>
                <c:pt idx="2">
                  <c:v>18.213899613899613</c:v>
                </c:pt>
                <c:pt idx="3">
                  <c:v>19.563369687852575</c:v>
                </c:pt>
                <c:pt idx="5">
                  <c:v>14.8017127799736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Flamingo</c:v>
                </c:pt>
                <c:pt idx="3">
                  <c:v>Billie</c:v>
                </c:pt>
                <c:pt idx="4">
                  <c:v>Intuition</c:v>
                </c:pt>
                <c:pt idx="5">
                  <c:v>Quattro</c:v>
                </c:pt>
              </c:strCache>
            </c:strRef>
          </c:cat>
          <c:val>
            <c:numRef>
              <c:f>Sheet1!$B$2:$B$7</c:f>
              <c:numCache>
                <c:formatCode>General</c:formatCode>
                <c:ptCount val="6"/>
                <c:pt idx="0">
                  <c:v>12.868112872203151</c:v>
                </c:pt>
                <c:pt idx="1">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C$2:$C$7</c:f>
              <c:numCache>
                <c:formatCode>General</c:formatCode>
                <c:ptCount val="6"/>
                <c:pt idx="0">
                  <c:v>14.605779677830791</c:v>
                </c:pt>
                <c:pt idx="1">
                  <c:v>12.048028557520688</c:v>
                </c:pt>
                <c:pt idx="2">
                  <c:v>12.170642748148424</c:v>
                </c:pt>
                <c:pt idx="3">
                  <c:v>11.592975337602232</c:v>
                </c:pt>
                <c:pt idx="4">
                  <c:v>14.1123573524616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D$2:$D$7</c:f>
              <c:numCache>
                <c:formatCode>General</c:formatCode>
                <c:ptCount val="6"/>
                <c:pt idx="1">
                  <c:v>11.970365381377336</c:v>
                </c:pt>
                <c:pt idx="4">
                  <c:v>14.4139329155915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E$2:$E$7</c:f>
              <c:numCache>
                <c:formatCode>General</c:formatCode>
                <c:ptCount val="6"/>
                <c:pt idx="5">
                  <c:v>12.6789381417480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F$2:$F$7</c:f>
              <c:numCache>
                <c:formatCode>General</c:formatCode>
                <c:ptCount val="6"/>
                <c:pt idx="2">
                  <c:v>17.411305317962068</c:v>
                </c:pt>
                <c:pt idx="5">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Flamingo</c:v>
                </c:pt>
                <c:pt idx="3">
                  <c:v>Billie</c:v>
                </c:pt>
                <c:pt idx="4">
                  <c:v>Intuition</c:v>
                </c:pt>
                <c:pt idx="5">
                  <c:v>Quattro</c:v>
                </c:pt>
              </c:strCache>
            </c:strRef>
          </c:cat>
          <c:val>
            <c:numRef>
              <c:f>Sheet1!$G$2:$G$7</c:f>
              <c:numCache>
                <c:formatCode>General</c:formatCode>
                <c:ptCount val="6"/>
                <c:pt idx="0">
                  <c:v>21.8299975886182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20.0352209085252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979751697185115</c:v>
                </c:pt>
                <c:pt idx="2">
                  <c:v>10.946946684822457</c:v>
                </c:pt>
                <c:pt idx="3">
                  <c:v>12.038193970808894</c:v>
                </c:pt>
                <c:pt idx="4">
                  <c:v>19.7263369616658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8.979819133745835</c:v>
                </c:pt>
                <c:pt idx="1">
                  <c:v>29.146454767726162</c:v>
                </c:pt>
                <c:pt idx="5">
                  <c:v>16.925177498634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316776381408339</c:v>
                </c:pt>
                <c:pt idx="2">
                  <c:v>20.07533718689788</c:v>
                </c:pt>
                <c:pt idx="3">
                  <c:v>18.4493053502808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Easyrinse</c:v>
                </c:pt>
                <c:pt idx="1">
                  <c:v>Bic Soleil</c:v>
                </c:pt>
                <c:pt idx="2">
                  <c:v>Intuition</c:v>
                </c:pt>
              </c:strCache>
            </c:strRef>
          </c:cat>
          <c:val>
            <c:numRef>
              <c:f>Sheet1!$B$2:$B$4</c:f>
              <c:numCache>
                <c:formatCode>General</c:formatCode>
                <c:ptCount val="3"/>
                <c:pt idx="1">
                  <c:v>6.716814159292035</c:v>
                </c:pt>
                <c:pt idx="2">
                  <c:v>5.814516129032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Bic Soleil</c:v>
                </c:pt>
                <c:pt idx="2">
                  <c:v>Intuition</c:v>
                </c:pt>
              </c:strCache>
            </c:strRef>
          </c:cat>
          <c:val>
            <c:numRef>
              <c:f>Sheet1!$C$2:$C$4</c:f>
              <c:numCache>
                <c:formatCode>General</c:formatCode>
                <c:ptCount val="3"/>
                <c:pt idx="0">
                  <c:v>7.018567639257294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B$2:$B$8</c:f>
              <c:numCache>
                <c:formatCode>General</c:formatCode>
                <c:ptCount val="7"/>
                <c:pt idx="1">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C$2:$C$8</c:f>
              <c:numCache>
                <c:formatCode>General</c:formatCode>
                <c:ptCount val="7"/>
                <c:pt idx="0">
                  <c:v>12.775443786982249</c:v>
                </c:pt>
                <c:pt idx="1">
                  <c:v>10.794602698650674</c:v>
                </c:pt>
                <c:pt idx="2">
                  <c:v>10.357878787878787</c:v>
                </c:pt>
                <c:pt idx="3">
                  <c:v>11.081810269799826</c:v>
                </c:pt>
                <c:pt idx="4">
                  <c:v>9.7611940298507456</c:v>
                </c:pt>
                <c:pt idx="5">
                  <c:v>6.1606217616580308</c:v>
                </c:pt>
                <c:pt idx="6">
                  <c:v>11.0194174757281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D$2:$D$8</c:f>
              <c:numCache>
                <c:formatCode>General</c:formatCode>
                <c:ptCount val="7"/>
                <c:pt idx="3">
                  <c:v>11.146368104860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E$2:$E$8</c:f>
              <c:numCache>
                <c:formatCode>General</c:formatCode>
                <c:ptCount val="7"/>
                <c:pt idx="4">
                  <c:v>13.01687116564417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2">
                  <c:v>24.9661016949152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1">
                  <c:v>14.212627669452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17.363504255760848</c:v>
                </c:pt>
                <c:pt idx="2">
                  <c:v>10.291488349976225</c:v>
                </c:pt>
                <c:pt idx="3">
                  <c:v>9.6384149697303254</c:v>
                </c:pt>
                <c:pt idx="4">
                  <c:v>15.855285961871751</c:v>
                </c:pt>
                <c:pt idx="5">
                  <c:v>7.5079051383399209</c:v>
                </c:pt>
                <c:pt idx="6">
                  <c:v>10.866220735785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0">
                  <c:v>23.509241555130657</c:v>
                </c:pt>
                <c:pt idx="1">
                  <c:v>25.39291217257319</c:v>
                </c:pt>
                <c:pt idx="4">
                  <c:v>19.8984375</c:v>
                </c:pt>
                <c:pt idx="5">
                  <c:v>9.64412070759625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F$2:$F$8</c:f>
              <c:numCache>
                <c:formatCode>General</c:formatCode>
                <c:ptCount val="7"/>
                <c:pt idx="2">
                  <c:v>17.080760095011875</c:v>
                </c:pt>
                <c:pt idx="3">
                  <c:v>18.1923890063424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625046779845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759660968251687</c:v>
                </c:pt>
                <c:pt idx="2">
                  <c:v>4.9807314897413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955299206921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B$2:$B$8</c:f>
              <c:numCache>
                <c:formatCode>General</c:formatCode>
                <c:ptCount val="7"/>
                <c:pt idx="3">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C$2:$C$8</c:f>
              <c:numCache>
                <c:formatCode>General</c:formatCode>
                <c:ptCount val="7"/>
                <c:pt idx="0">
                  <c:v>12.096308599060798</c:v>
                </c:pt>
                <c:pt idx="1">
                  <c:v>10.186384219018374</c:v>
                </c:pt>
                <c:pt idx="2">
                  <c:v>9.9100402911670091</c:v>
                </c:pt>
                <c:pt idx="3">
                  <c:v>9.9512852591799614</c:v>
                </c:pt>
                <c:pt idx="4">
                  <c:v>9.3202082864581666</c:v>
                </c:pt>
                <c:pt idx="5">
                  <c:v>5.7172022684310022</c:v>
                </c:pt>
                <c:pt idx="6">
                  <c:v>9.9700318665672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D$2:$D$8</c:f>
              <c:numCache>
                <c:formatCode>General</c:formatCode>
                <c:ptCount val="7"/>
                <c:pt idx="1">
                  <c:v>9.9539272995026078</c:v>
                </c:pt>
                <c:pt idx="3">
                  <c:v>8.9828557000378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E$2:$E$8</c:f>
              <c:numCache>
                <c:formatCode>General</c:formatCode>
                <c:ptCount val="7"/>
                <c:pt idx="0">
                  <c:v>13.042717811801886</c:v>
                </c:pt>
                <c:pt idx="4">
                  <c:v>12.9685091714883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F$2:$F$8</c:f>
              <c:numCache>
                <c:formatCode>General</c:formatCode>
                <c:ptCount val="7"/>
                <c:pt idx="0">
                  <c:v>19.93771304617291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1">
                  <c:v>13.8028988149498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0">
                  <c:v>16.489072211834859</c:v>
                </c:pt>
                <c:pt idx="2">
                  <c:v>9.9701361952812864</c:v>
                </c:pt>
                <c:pt idx="3">
                  <c:v>8.9794979330177949</c:v>
                </c:pt>
                <c:pt idx="4">
                  <c:v>14.540925050538828</c:v>
                </c:pt>
                <c:pt idx="5">
                  <c:v>6.9520218208328624</c:v>
                </c:pt>
                <c:pt idx="6">
                  <c:v>9.80359120392343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24.270710441891751</c:v>
                </c:pt>
                <c:pt idx="1">
                  <c:v>23.25534691815426</c:v>
                </c:pt>
                <c:pt idx="4">
                  <c:v>18.19162925679046</c:v>
                </c:pt>
                <c:pt idx="5">
                  <c:v>8.95827230413696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2">
                  <c:v>16.885680152548993</c:v>
                </c:pt>
                <c:pt idx="3">
                  <c:v>16.92314948957245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BDD634-9B46-42A4-9187-66C7E3207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23E332-2E20-457F-867A-2551F861F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19601B-394E-4422-82D2-E265B8F02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0E4972-B6FF-42CE-BE34-6E4016577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C6B602-EED1-4DAA-8934-0DC277DAD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E8361F-6F8D-4AD8-9897-16E9FB94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09E972-75E6-4EE6-8104-86EA9CCA0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D6FB59-24EE-4784-8A85-2D0922CF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910523379348131</c:v>
                </c:pt>
                <c:pt idx="1">
                  <c:v>20.09274646160992</c:v>
                </c:pt>
                <c:pt idx="2">
                  <c:v>13.10289660654842</c:v>
                </c:pt>
                <c:pt idx="3">
                  <c:v>12.41766563680055</c:v>
                </c:pt>
                <c:pt idx="4">
                  <c:v>15.843855561377501</c:v>
                </c:pt>
                <c:pt idx="5">
                  <c:v>14.13286748190666</c:v>
                </c:pt>
              </c:numCache>
            </c:numRef>
          </c:xVal>
          <c:yVal>
            <c:numRef>
              <c:f>Sheet1!$B$2:$B$7</c:f>
              <c:numCache>
                <c:formatCode>General</c:formatCode>
                <c:ptCount val="6"/>
                <c:pt idx="0">
                  <c:v>1.173349865269107</c:v>
                </c:pt>
                <c:pt idx="1">
                  <c:v>1.0675170955426061</c:v>
                </c:pt>
                <c:pt idx="2">
                  <c:v>0.69972474797798634</c:v>
                </c:pt>
                <c:pt idx="3">
                  <c:v>0.74498399652199754</c:v>
                </c:pt>
                <c:pt idx="4">
                  <c:v>1.129256638290342</c:v>
                </c:pt>
                <c:pt idx="5">
                  <c:v>0.4892408867144224</c:v>
                </c:pt>
              </c:numCache>
            </c:numRef>
          </c:yVal>
          <c:bubbleSize>
            <c:numRef>
              <c:f>Sheet1!$C$2:$C$7</c:f>
              <c:numCache>
                <c:formatCode>General</c:formatCode>
                <c:ptCount val="6"/>
                <c:pt idx="0">
                  <c:v>11320747</c:v>
                </c:pt>
                <c:pt idx="1">
                  <c:v>3114657</c:v>
                </c:pt>
                <c:pt idx="2">
                  <c:v>1846054</c:v>
                </c:pt>
                <c:pt idx="3">
                  <c:v>1808633</c:v>
                </c:pt>
                <c:pt idx="4">
                  <c:v>1421178</c:v>
                </c:pt>
                <c:pt idx="5">
                  <c:v>5663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7324156838107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780397785523885</c:v>
                </c:pt>
                <c:pt idx="2">
                  <c:v>4.81173639392817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0232319575187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152037656473359</c:v>
                </c:pt>
                <c:pt idx="1">
                  <c:v>9.9260042039572536</c:v>
                </c:pt>
                <c:pt idx="2">
                  <c:v>10.15603243049005</c:v>
                </c:pt>
                <c:pt idx="3">
                  <c:v>9.9553401315710648</c:v>
                </c:pt>
                <c:pt idx="4">
                  <c:v>9.3038644612120169</c:v>
                </c:pt>
                <c:pt idx="5">
                  <c:v>5.7189897346844569</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9.8067037583376084</c:v>
                </c:pt>
                <c:pt idx="3">
                  <c:v>8.69635825568028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2.037689453212321</c:v>
                </c:pt>
                <c:pt idx="4">
                  <c:v>12.9675796982387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19.96547325452844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54456179358902</c:v>
                </c:pt>
                <c:pt idx="3">
                  <c:v>24.8459871655971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59197092922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81486417981008</c:v>
                </c:pt>
                <c:pt idx="1">
                  <c:v>9.9704521729987903</c:v>
                </c:pt>
                <c:pt idx="3">
                  <c:v>8.980371314895029</c:v>
                </c:pt>
                <c:pt idx="4">
                  <c:v>14.504567278757808</c:v>
                </c:pt>
                <c:pt idx="5">
                  <c:v>6.952072828315214</c:v>
                </c:pt>
                <c:pt idx="6">
                  <c:v>9.7313247516724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320281412551299</c:v>
                </c:pt>
                <c:pt idx="2">
                  <c:v>23.166583541147133</c:v>
                </c:pt>
                <c:pt idx="4">
                  <c:v>18.114813212173662</c:v>
                </c:pt>
                <c:pt idx="5">
                  <c:v>8.95973635551754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4.48414376321353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Pbg Pl</c:v>
                </c:pt>
                <c:pt idx="4">
                  <c:v>Skintimate</c:v>
                </c:pt>
              </c:strCache>
            </c:strRef>
          </c:cat>
          <c:val>
            <c:numRef>
              <c:f>Sheet1!$B$2:$B$6</c:f>
              <c:numCache>
                <c:formatCode>General</c:formatCode>
                <c:ptCount val="5"/>
                <c:pt idx="1">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C$2:$C$6</c:f>
              <c:numCache>
                <c:formatCode>General</c:formatCode>
                <c:ptCount val="5"/>
                <c:pt idx="0">
                  <c:v>13.192543620501636</c:v>
                </c:pt>
                <c:pt idx="1">
                  <c:v>8.9820996613449449</c:v>
                </c:pt>
                <c:pt idx="2">
                  <c:v>12.693121693121693</c:v>
                </c:pt>
                <c:pt idx="3">
                  <c:v>7.0096754057428212</c:v>
                </c:pt>
                <c:pt idx="4">
                  <c:v>8.61333333333333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D$2:$D$6</c:f>
              <c:numCache>
                <c:formatCode>General</c:formatCode>
                <c:ptCount val="5"/>
                <c:pt idx="2">
                  <c:v>12.4006820119352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E$2:$E$6</c:f>
              <c:numCache>
                <c:formatCode>General</c:formatCode>
                <c:ptCount val="5"/>
                <c:pt idx="0">
                  <c:v>10.27092987333951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Pbg Pl</c:v>
                </c:pt>
                <c:pt idx="2">
                  <c:v>Hydro Silk</c:v>
                </c:pt>
                <c:pt idx="3">
                  <c:v>Intuition</c:v>
                </c:pt>
              </c:strCache>
            </c:strRef>
          </c:cat>
          <c:val>
            <c:numRef>
              <c:f>Sheet1!$B$2:$B$5</c:f>
              <c:numCache>
                <c:formatCode>General</c:formatCode>
                <c:ptCount val="4"/>
                <c:pt idx="3">
                  <c:v>18.5548317046688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Pbg Pl</c:v>
                </c:pt>
                <c:pt idx="2">
                  <c:v>Hydro Silk</c:v>
                </c:pt>
                <c:pt idx="3">
                  <c:v>Intuition</c:v>
                </c:pt>
              </c:strCache>
            </c:strRef>
          </c:cat>
          <c:val>
            <c:numRef>
              <c:f>Sheet1!$C$2:$C$5</c:f>
              <c:numCache>
                <c:formatCode>General</c:formatCode>
                <c:ptCount val="4"/>
                <c:pt idx="0">
                  <c:v>18.05949793930311</c:v>
                </c:pt>
                <c:pt idx="2">
                  <c:v>15.216697080291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Pbg Pl</c:v>
                </c:pt>
                <c:pt idx="2">
                  <c:v>Hydro Silk</c:v>
                </c:pt>
                <c:pt idx="3">
                  <c:v>Intuition</c:v>
                </c:pt>
              </c:strCache>
            </c:strRef>
          </c:cat>
          <c:val>
            <c:numRef>
              <c:f>Sheet1!$D$2:$D$5</c:f>
              <c:numCache>
                <c:formatCode>General</c:formatCode>
                <c:ptCount val="4"/>
                <c:pt idx="1">
                  <c:v>10.88357877188107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59400039085401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409985935302394</c:v>
                </c:pt>
                <c:pt idx="2">
                  <c:v>4.90761777480788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2345120899384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024322366597211</c:v>
                </c:pt>
                <c:pt idx="1">
                  <c:v>9.9187133126030087</c:v>
                </c:pt>
                <c:pt idx="2">
                  <c:v>10.174266752301435</c:v>
                </c:pt>
                <c:pt idx="3">
                  <c:v>9.9513330206717416</c:v>
                </c:pt>
                <c:pt idx="4">
                  <c:v>9.2570097402049321</c:v>
                </c:pt>
                <c:pt idx="5">
                  <c:v>5.7178025452885439</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9.8699436532833804</c:v>
                </c:pt>
                <c:pt idx="3">
                  <c:v>8.69336485503481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2.303650549027163</c:v>
                </c:pt>
                <c:pt idx="4">
                  <c:v>12.9682359366466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19.96479679450486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930577129884096</c:v>
                </c:pt>
                <c:pt idx="3">
                  <c:v>24.8701472556894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90583108363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400390729963235</c:v>
                </c:pt>
                <c:pt idx="1">
                  <c:v>9.9699639504642512</c:v>
                </c:pt>
                <c:pt idx="3">
                  <c:v>8.9798341974709981</c:v>
                </c:pt>
                <c:pt idx="4">
                  <c:v>14.535419434781959</c:v>
                </c:pt>
                <c:pt idx="5">
                  <c:v>6.9486076802155852</c:v>
                </c:pt>
                <c:pt idx="6">
                  <c:v>9.7677708357892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122002226702374</c:v>
                </c:pt>
                <c:pt idx="2">
                  <c:v>22.845041056397847</c:v>
                </c:pt>
                <c:pt idx="4">
                  <c:v>18.217509516041329</c:v>
                </c:pt>
                <c:pt idx="5">
                  <c:v>8.9579157993254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49764221556886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053688177832473</c:v>
                </c:pt>
                <c:pt idx="2">
                  <c:v>4.92995391705069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02982821821317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8524AB-8070-4195-A5F2-292E7A319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BBF9BA-2618-4D7A-9729-8354CF930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A3B4AD-523E-4AFD-95C4-0FFF6FFFE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BD3241-769C-40C6-A03E-8CB01AE52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F41FD4-D12F-447F-A35C-EBDED15F4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1DE9D8-6042-44BE-B861-BC55ECAF1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02D9BB-5BB8-485E-840D-DA0F98A61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373C64-F06A-470C-8FC5-2FEE92261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4.96818674426394</c:v>
                </c:pt>
                <c:pt idx="1">
                  <c:v>15.407049446494471</c:v>
                </c:pt>
                <c:pt idx="2">
                  <c:v>13.417592303923749</c:v>
                </c:pt>
                <c:pt idx="3">
                  <c:v>15.993369917031361</c:v>
                </c:pt>
                <c:pt idx="4">
                  <c:v>10.71121590539107</c:v>
                </c:pt>
                <c:pt idx="5">
                  <c:v>9.6726014827271189</c:v>
                </c:pt>
                <c:pt idx="6">
                  <c:v>14.73448948273276</c:v>
                </c:pt>
                <c:pt idx="7">
                  <c:v>15.916283573445311</c:v>
                </c:pt>
                <c:pt idx="8">
                  <c:v>13.204303036551231</c:v>
                </c:pt>
              </c:numCache>
            </c:numRef>
          </c:xVal>
          <c:yVal>
            <c:numRef>
              <c:f>Sheet1!$B$2:$B$10</c:f>
              <c:numCache>
                <c:formatCode>General</c:formatCode>
                <c:ptCount val="9"/>
                <c:pt idx="0">
                  <c:v>1.563392016420176</c:v>
                </c:pt>
                <c:pt idx="1">
                  <c:v>1.5682205846331509</c:v>
                </c:pt>
                <c:pt idx="2">
                  <c:v>0.68792634606363756</c:v>
                </c:pt>
                <c:pt idx="3">
                  <c:v>1.5128357425891641</c:v>
                </c:pt>
                <c:pt idx="4">
                  <c:v>0.53735491167730876</c:v>
                </c:pt>
                <c:pt idx="5">
                  <c:v>0.5701586777744625</c:v>
                </c:pt>
                <c:pt idx="6">
                  <c:v>1.247549550543579</c:v>
                </c:pt>
                <c:pt idx="7">
                  <c:v>1.086757092940446</c:v>
                </c:pt>
                <c:pt idx="8">
                  <c:v>0.98790131758605959</c:v>
                </c:pt>
              </c:numCache>
            </c:numRef>
          </c:yVal>
          <c:bubbleSize>
            <c:numRef>
              <c:f>Sheet1!$C$2:$C$10</c:f>
              <c:numCache>
                <c:formatCode>General</c:formatCode>
                <c:ptCount val="9"/>
                <c:pt idx="0">
                  <c:v>51572618</c:v>
                </c:pt>
                <c:pt idx="1">
                  <c:v>7828707</c:v>
                </c:pt>
                <c:pt idx="2">
                  <c:v>6025304</c:v>
                </c:pt>
                <c:pt idx="3">
                  <c:v>5613289</c:v>
                </c:pt>
                <c:pt idx="4">
                  <c:v>5099235</c:v>
                </c:pt>
                <c:pt idx="5">
                  <c:v>4785655</c:v>
                </c:pt>
                <c:pt idx="6">
                  <c:v>2553988</c:v>
                </c:pt>
                <c:pt idx="7">
                  <c:v>1758813</c:v>
                </c:pt>
                <c:pt idx="8">
                  <c:v>166502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Intuition</c:v>
                  </c:pt>
                  <c:pt idx="4">
                    <c:v>Billie</c:v>
                  </c:pt>
                  <c:pt idx="5">
                    <c:v>Bic Soleil</c:v>
                  </c:pt>
                  <c:pt idx="6">
                    <c:v>Flamingo</c:v>
                  </c:pt>
                  <c:pt idx="7">
                    <c:v>Jo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BFBE8C-8C75-4B5C-B12F-DBFC91DF6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3E7703-6FC6-4855-B3E3-1C87C05B2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72D058-3774-4C4E-8B43-992386DC6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DDCE98-A6D8-4C28-8704-72A322A4F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D18721-F4C5-4FE7-B5FA-58C1B10BE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58FCB9-8B83-42C1-B04A-DA17424B6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569D7F-0809-4B97-926C-206FCE5E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024425-AE0B-4C6D-AF26-AA33FB625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2258783718920991</c:v>
                </c:pt>
                <c:pt idx="1">
                  <c:v>7.9964950055853263</c:v>
                </c:pt>
                <c:pt idx="2">
                  <c:v>12.34024922918808</c:v>
                </c:pt>
                <c:pt idx="3">
                  <c:v>13.97784791965567</c:v>
                </c:pt>
                <c:pt idx="4">
                  <c:v>13.419774602068079</c:v>
                </c:pt>
              </c:numCache>
            </c:numRef>
          </c:xVal>
          <c:yVal>
            <c:numRef>
              <c:f>Sheet1!$B$2:$B$6</c:f>
              <c:numCache>
                <c:formatCode>General</c:formatCode>
                <c:ptCount val="5"/>
                <c:pt idx="0">
                  <c:v>1.065086998282794</c:v>
                </c:pt>
                <c:pt idx="1">
                  <c:v>0.84406634973685524</c:v>
                </c:pt>
                <c:pt idx="2">
                  <c:v>1.6744256897533749</c:v>
                </c:pt>
                <c:pt idx="3">
                  <c:v>0.49308310235907798</c:v>
                </c:pt>
                <c:pt idx="4">
                  <c:v>1.888300214080451</c:v>
                </c:pt>
              </c:numCache>
            </c:numRef>
          </c:yVal>
          <c:bubbleSize>
            <c:numRef>
              <c:f>Sheet1!$C$2:$C$6</c:f>
              <c:numCache>
                <c:formatCode>General</c:formatCode>
                <c:ptCount val="5"/>
                <c:pt idx="0">
                  <c:v>3844239</c:v>
                </c:pt>
                <c:pt idx="1">
                  <c:v>987871</c:v>
                </c:pt>
                <c:pt idx="2">
                  <c:v>384226</c:v>
                </c:pt>
                <c:pt idx="3">
                  <c:v>243564</c:v>
                </c:pt>
                <c:pt idx="4">
                  <c:v>115504</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B$2:$B$8</c:f>
              <c:numCache>
                <c:formatCode>General</c:formatCode>
                <c:ptCount val="7"/>
                <c:pt idx="2">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C$2:$C$8</c:f>
              <c:numCache>
                <c:formatCode>General</c:formatCode>
                <c:ptCount val="7"/>
                <c:pt idx="0">
                  <c:v>11.993899497654613</c:v>
                </c:pt>
                <c:pt idx="1">
                  <c:v>9.9087464159196159</c:v>
                </c:pt>
                <c:pt idx="2">
                  <c:v>9.9499455160409269</c:v>
                </c:pt>
                <c:pt idx="3">
                  <c:v>10.139351030644075</c:v>
                </c:pt>
                <c:pt idx="4">
                  <c:v>9.2586770317447424</c:v>
                </c:pt>
                <c:pt idx="5">
                  <c:v>9.9657766632246645</c:v>
                </c:pt>
                <c:pt idx="6">
                  <c:v>5.7179505512576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D$2:$D$8</c:f>
              <c:numCache>
                <c:formatCode>General</c:formatCode>
                <c:ptCount val="7"/>
                <c:pt idx="2">
                  <c:v>8.2111192750428614</c:v>
                </c:pt>
                <c:pt idx="3">
                  <c:v>9.6376391185372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E$2:$E$8</c:f>
              <c:numCache>
                <c:formatCode>General</c:formatCode>
                <c:ptCount val="7"/>
                <c:pt idx="0">
                  <c:v>11.15259214256784</c:v>
                </c:pt>
                <c:pt idx="4">
                  <c:v>12.9702191235059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F$2:$F$8</c:f>
              <c:numCache>
                <c:formatCode>General</c:formatCode>
                <c:ptCount val="7"/>
                <c:pt idx="0">
                  <c:v>19.9409699363616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B$2:$B$8</c:f>
              <c:numCache>
                <c:formatCode>General</c:formatCode>
                <c:ptCount val="7"/>
                <c:pt idx="1">
                  <c:v>23.838990182328192</c:v>
                </c:pt>
                <c:pt idx="2">
                  <c:v>24.8661619575503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C$2:$C$8</c:f>
              <c:numCache>
                <c:formatCode>General</c:formatCode>
                <c:ptCount val="7"/>
                <c:pt idx="3">
                  <c:v>13.7592007476302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D$2:$D$8</c:f>
              <c:numCache>
                <c:formatCode>General</c:formatCode>
                <c:ptCount val="7"/>
                <c:pt idx="0">
                  <c:v>16.434777519705921</c:v>
                </c:pt>
                <c:pt idx="1">
                  <c:v>9.9702407130501065</c:v>
                </c:pt>
                <c:pt idx="2">
                  <c:v>8.980661972369564</c:v>
                </c:pt>
                <c:pt idx="4">
                  <c:v>14.510379521141111</c:v>
                </c:pt>
                <c:pt idx="5">
                  <c:v>6.9448208683694084</c:v>
                </c:pt>
                <c:pt idx="6">
                  <c:v>9.81802975088117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E$2:$E$8</c:f>
              <c:numCache>
                <c:formatCode>General</c:formatCode>
                <c:ptCount val="7"/>
                <c:pt idx="0">
                  <c:v>24.223195588440596</c:v>
                </c:pt>
                <c:pt idx="3">
                  <c:v>22.701966766194989</c:v>
                </c:pt>
                <c:pt idx="4">
                  <c:v>18.196810438564697</c:v>
                </c:pt>
                <c:pt idx="5">
                  <c:v>8.95939745657958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F$2:$F$8</c:f>
              <c:numCache>
                <c:formatCode>General</c:formatCode>
                <c:ptCount val="7"/>
                <c:pt idx="1">
                  <c:v>16.862382576437504</c:v>
                </c:pt>
                <c:pt idx="2">
                  <c:v>16.90375068946497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55756618897255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1006717115891504</c:v>
                </c:pt>
                <c:pt idx="2">
                  <c:v>4.80215093639903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82910790682934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B$2:$B$8</c:f>
              <c:numCache>
                <c:formatCode>General</c:formatCode>
                <c:ptCount val="7"/>
                <c:pt idx="1">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C$2:$C$8</c:f>
              <c:numCache>
                <c:formatCode>General</c:formatCode>
                <c:ptCount val="7"/>
                <c:pt idx="0">
                  <c:v>12.064520650061038</c:v>
                </c:pt>
                <c:pt idx="1">
                  <c:v>9.952661623427856</c:v>
                </c:pt>
                <c:pt idx="2">
                  <c:v>9.9328793192182019</c:v>
                </c:pt>
                <c:pt idx="3">
                  <c:v>10.189469088368844</c:v>
                </c:pt>
                <c:pt idx="4">
                  <c:v>9.2849381530569701</c:v>
                </c:pt>
                <c:pt idx="5">
                  <c:v>10.091876622820784</c:v>
                </c:pt>
                <c:pt idx="6">
                  <c:v>5.8093540303728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D$2:$D$8</c:f>
              <c:numCache>
                <c:formatCode>General</c:formatCode>
                <c:ptCount val="7"/>
                <c:pt idx="1">
                  <c:v>8.621362643556683</c:v>
                </c:pt>
                <c:pt idx="3">
                  <c:v>9.75338202247191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E$2:$E$8</c:f>
              <c:numCache>
                <c:formatCode>General</c:formatCode>
                <c:ptCount val="7"/>
                <c:pt idx="0">
                  <c:v>11.714381189622699</c:v>
                </c:pt>
                <c:pt idx="4">
                  <c:v>12.9674446995901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F$2:$F$8</c:f>
              <c:numCache>
                <c:formatCode>General</c:formatCode>
                <c:ptCount val="7"/>
                <c:pt idx="0">
                  <c:v>19.94923236319110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938313197026023</c:v>
                </c:pt>
                <c:pt idx="3">
                  <c:v>25.0588102494638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459209900047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6278640914161</c:v>
                </c:pt>
                <c:pt idx="1">
                  <c:v>9.9706687220668719</c:v>
                </c:pt>
                <c:pt idx="3">
                  <c:v>8.9807857716613242</c:v>
                </c:pt>
                <c:pt idx="4">
                  <c:v>14.519231720385788</c:v>
                </c:pt>
                <c:pt idx="5">
                  <c:v>7.0182469757906762</c:v>
                </c:pt>
                <c:pt idx="6">
                  <c:v>9.92092964506757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389451715892914</c:v>
                </c:pt>
                <c:pt idx="2">
                  <c:v>23.189585028478437</c:v>
                </c:pt>
                <c:pt idx="4">
                  <c:v>18.40867522443158</c:v>
                </c:pt>
                <c:pt idx="5">
                  <c:v>9.04376393755973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962004044546983</c:v>
                </c:pt>
                <c:pt idx="3">
                  <c:v>16.921087741327892</c:v>
                </c:pt>
                <c:pt idx="6">
                  <c:v>17.04592207792207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B$2:$B$10</c:f>
              <c:numCache>
                <c:formatCode>General</c:formatCode>
                <c:ptCount val="9"/>
                <c:pt idx="1">
                  <c:v>4.8151199366152637</c:v>
                </c:pt>
                <c:pt idx="5">
                  <c:v>6.4152311174964352</c:v>
                </c:pt>
                <c:pt idx="6">
                  <c:v>14.060478138191998</c:v>
                </c:pt>
                <c:pt idx="7">
                  <c:v>14.8666481651889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C$2:$C$10</c:f>
              <c:numCache>
                <c:formatCode>General</c:formatCode>
                <c:ptCount val="9"/>
                <c:pt idx="0">
                  <c:v>6.3475949057245948</c:v>
                </c:pt>
                <c:pt idx="1">
                  <c:v>10.345652912817433</c:v>
                </c:pt>
                <c:pt idx="2">
                  <c:v>3.8784885704537699</c:v>
                </c:pt>
                <c:pt idx="3">
                  <c:v>5.4302920657524494</c:v>
                </c:pt>
                <c:pt idx="4">
                  <c:v>5.2408896174292394</c:v>
                </c:pt>
                <c:pt idx="6">
                  <c:v>6.63348308152856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D$2:$D$10</c:f>
              <c:numCache>
                <c:formatCode>General</c:formatCode>
                <c:ptCount val="9"/>
                <c:pt idx="7">
                  <c:v>14.6400006238886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E$2:$E$10</c:f>
              <c:numCache>
                <c:formatCode>General</c:formatCode>
                <c:ptCount val="9"/>
                <c:pt idx="0">
                  <c:v>8.9044262680733244</c:v>
                </c:pt>
                <c:pt idx="8">
                  <c:v>5.14139665920948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F$2:$F$10</c:f>
              <c:numCache>
                <c:formatCode>General</c:formatCode>
                <c:ptCount val="9"/>
                <c:pt idx="0">
                  <c:v>13.2435676568439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B$2:$B$6</c:f>
              <c:numCache>
                <c:formatCode>General</c:formatCode>
                <c:ptCount val="5"/>
                <c:pt idx="1">
                  <c:v>3.2273369493781217</c:v>
                </c:pt>
                <c:pt idx="3">
                  <c:v>2.5122004121028088</c:v>
                </c:pt>
                <c:pt idx="4">
                  <c:v>2.3617969434164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C$2:$C$6</c:f>
              <c:numCache>
                <c:formatCode>General</c:formatCode>
                <c:ptCount val="5"/>
                <c:pt idx="2">
                  <c:v>11.956425658640587</c:v>
                </c:pt>
                <c:pt idx="3">
                  <c:v>3.63584572938221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D$2:$D$6</c:f>
              <c:numCache>
                <c:formatCode>General</c:formatCode>
                <c:ptCount val="5"/>
                <c:pt idx="1">
                  <c:v>5.0054712927508849</c:v>
                </c:pt>
                <c:pt idx="2">
                  <c:v>15.0429582637295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E$2:$E$6</c:f>
              <c:numCache>
                <c:formatCode>General</c:formatCode>
                <c:ptCount val="5"/>
                <c:pt idx="0">
                  <c:v>14.7038787208659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F$2:$F$6</c:f>
              <c:numCache>
                <c:formatCode>General</c:formatCode>
                <c:ptCount val="5"/>
                <c:pt idx="1">
                  <c:v>9.013681461093815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G$2:$G$6</c:f>
              <c:numCache>
                <c:formatCode>General</c:formatCode>
                <c:ptCount val="5"/>
                <c:pt idx="0">
                  <c:v>1.4540336667823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H$2:$H$6</c:f>
              <c:numCache>
                <c:formatCode>General</c:formatCode>
                <c:ptCount val="5"/>
                <c:pt idx="1">
                  <c:v>9.780050149532243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I$2:$I$6</c:f>
              <c:numCache>
                <c:formatCode>General</c:formatCode>
                <c:ptCount val="5"/>
                <c:pt idx="0">
                  <c:v>13.30379267023113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J$2:$J$6</c:f>
              <c:numCache>
                <c:formatCode>General</c:formatCode>
                <c:ptCount val="5"/>
                <c:pt idx="3">
                  <c:v>1.112172500476445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K$2:$K$6</c:f>
              <c:numCache>
                <c:formatCode>General</c:formatCode>
                <c:ptCount val="5"/>
                <c:pt idx="0">
                  <c:v>3.073291888826728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22.8137493786779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1">
                  <c:v>14.4166464802289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3466109159837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9.12032672420685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7.4946092715789154</c:v>
                </c:pt>
                <c:pt idx="1">
                  <c:v>4.6739320534120417</c:v>
                </c:pt>
                <c:pt idx="2">
                  <c:v>4.20081107207695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9.0580766272252635</c:v>
                </c:pt>
                <c:pt idx="1">
                  <c:v>5.7257459061901139</c:v>
                </c:pt>
                <c:pt idx="2">
                  <c:v>3.847620871804411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 Venus</c:v>
                </c:pt>
                <c:pt idx="1">
                  <c:v>Bic Soleil</c:v>
                </c:pt>
                <c:pt idx="2">
                  <c:v>Pbg Pl</c:v>
                </c:pt>
              </c:strCache>
            </c:strRef>
          </c:cat>
          <c:val>
            <c:numRef>
              <c:f>Sheet1!$H$2:$H$4</c:f>
              <c:numCache>
                <c:formatCode>General</c:formatCode>
                <c:ptCount val="3"/>
                <c:pt idx="0">
                  <c:v>7.580230729697227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I$2:$I$4</c:f>
              <c:numCache>
                <c:formatCode>General</c:formatCode>
                <c:ptCount val="3"/>
                <c:pt idx="0">
                  <c:v>17.2519534281537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J$2:$J$4</c:f>
              <c:numCache>
                <c:formatCode>General</c:formatCode>
                <c:ptCount val="3"/>
                <c:pt idx="0">
                  <c:v>15.313326100914384</c:v>
                </c:pt>
                <c:pt idx="1">
                  <c:v>9.355097903460851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B$2:$B$8</c:f>
              <c:numCache>
                <c:formatCode>General</c:formatCode>
                <c:ptCount val="7"/>
                <c:pt idx="0">
                  <c:v>31.285310181911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C$2:$C$8</c:f>
              <c:numCache>
                <c:formatCode>General</c:formatCode>
                <c:ptCount val="7"/>
                <c:pt idx="0">
                  <c:v>10.293584391741291</c:v>
                </c:pt>
                <c:pt idx="5">
                  <c:v>6.13297264275353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D$2:$D$8</c:f>
              <c:numCache>
                <c:formatCode>General</c:formatCode>
                <c:ptCount val="7"/>
                <c:pt idx="0">
                  <c:v>12.986393168204286</c:v>
                </c:pt>
                <c:pt idx="2">
                  <c:v>5.6559997693766046</c:v>
                </c:pt>
                <c:pt idx="4">
                  <c:v>4.56180146209234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E$2:$E$8</c:f>
              <c:numCache>
                <c:formatCode>General</c:formatCode>
                <c:ptCount val="7"/>
                <c:pt idx="1">
                  <c:v>6.5932692047788954</c:v>
                </c:pt>
                <c:pt idx="2">
                  <c:v>6.5190498019093592</c:v>
                </c:pt>
                <c:pt idx="3">
                  <c:v>10.214468616705547</c:v>
                </c:pt>
                <c:pt idx="6">
                  <c:v>14.977906438165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F$2:$F$8</c:f>
              <c:numCache>
                <c:formatCode>General</c:formatCode>
                <c:ptCount val="7"/>
                <c:pt idx="3">
                  <c:v>11.6601507360354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G$2:$G$8</c:f>
              <c:numCache>
                <c:formatCode>General</c:formatCode>
                <c:ptCount val="7"/>
                <c:pt idx="0">
                  <c:v>23.929950493037321</c:v>
                </c:pt>
                <c:pt idx="3">
                  <c:v>11.788395201565155</c:v>
                </c:pt>
                <c:pt idx="4">
                  <c:v>7.77032377500036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H$2:$H$8</c:f>
              <c:numCache>
                <c:formatCode>General</c:formatCode>
                <c:ptCount val="7"/>
                <c:pt idx="1">
                  <c:v>8.61068535897024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I$2:$I$8</c:f>
              <c:numCache>
                <c:formatCode>General</c:formatCode>
                <c:ptCount val="7"/>
                <c:pt idx="0">
                  <c:v>22.95534979423868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B$2:$B$9</c:f>
              <c:numCache>
                <c:formatCode>General</c:formatCode>
                <c:ptCount val="8"/>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C$2:$C$9</c:f>
              <c:numCache>
                <c:formatCode>General</c:formatCode>
                <c:ptCount val="8"/>
                <c:pt idx="0">
                  <c:v>10.793572214364293</c:v>
                </c:pt>
                <c:pt idx="3">
                  <c:v>15.440731501660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D$2:$D$9</c:f>
              <c:numCache>
                <c:formatCode>General</c:formatCode>
                <c:ptCount val="8"/>
                <c:pt idx="0">
                  <c:v>12.564970575469911</c:v>
                </c:pt>
                <c:pt idx="1">
                  <c:v>10.086347395875576</c:v>
                </c:pt>
                <c:pt idx="2">
                  <c:v>10.309534526059997</c:v>
                </c:pt>
                <c:pt idx="3">
                  <c:v>10.295704115433507</c:v>
                </c:pt>
                <c:pt idx="4">
                  <c:v>4.4958474396953028</c:v>
                </c:pt>
                <c:pt idx="5">
                  <c:v>6.8952925986148488</c:v>
                </c:pt>
                <c:pt idx="6">
                  <c:v>9.131185388502681</c:v>
                </c:pt>
                <c:pt idx="7">
                  <c:v>9.61940166736955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E$2:$E$9</c:f>
              <c:numCache>
                <c:formatCode>General</c:formatCode>
                <c:ptCount val="8"/>
                <c:pt idx="3">
                  <c:v>10.940955908212208</c:v>
                </c:pt>
                <c:pt idx="4">
                  <c:v>5.5847783417324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F$2:$F$9</c:f>
              <c:numCache>
                <c:formatCode>General</c:formatCode>
                <c:ptCount val="8"/>
                <c:pt idx="0">
                  <c:v>20.29533453202755</c:v>
                </c:pt>
                <c:pt idx="1">
                  <c:v>10.174510074735663</c:v>
                </c:pt>
                <c:pt idx="2">
                  <c:v>10.202412367563268</c:v>
                </c:pt>
                <c:pt idx="3">
                  <c:v>15.760785823966707</c:v>
                </c:pt>
                <c:pt idx="4">
                  <c:v>7.3526070793680081</c:v>
                </c:pt>
                <c:pt idx="6">
                  <c:v>9.64627181524756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G$2:$G$9</c:f>
              <c:numCache>
                <c:formatCode>General</c:formatCode>
                <c:ptCount val="8"/>
                <c:pt idx="4">
                  <c:v>6.97372674282861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H$2:$H$9</c:f>
              <c:numCache>
                <c:formatCode>General</c:formatCode>
                <c:ptCount val="8"/>
                <c:pt idx="0">
                  <c:v>26.5662288452898</c:v>
                </c:pt>
                <c:pt idx="3">
                  <c:v>18.342233182669599</c:v>
                </c:pt>
                <c:pt idx="4">
                  <c:v>8.51977453125219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I$2:$I$9</c:f>
              <c:numCache>
                <c:formatCode>General</c:formatCode>
                <c:ptCount val="8"/>
                <c:pt idx="1">
                  <c:v>17.026304973284013</c:v>
                </c:pt>
                <c:pt idx="2">
                  <c:v>16.9866189921836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A5F886-633A-4EBA-9783-8D40C4830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2470F2-3085-4EB6-AC52-F48AD53C6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5714E1-EAC2-4ED8-BF82-7EA356785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0ED5DE-27D0-4A6C-83D4-3A08D670A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88A024-0D48-4CF8-9C67-A1F430C63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F8A346-419A-4030-9E5D-8C8DC2E79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695E53-9A12-403D-B09E-109BB47CC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59B3F6-144B-4B5D-BA22-F6C41B33E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548325314012779</c:v>
                </c:pt>
                <c:pt idx="1">
                  <c:v>17.334740841248301</c:v>
                </c:pt>
                <c:pt idx="2">
                  <c:v>11.940413287993721</c:v>
                </c:pt>
                <c:pt idx="3">
                  <c:v>12.42377047155596</c:v>
                </c:pt>
                <c:pt idx="4">
                  <c:v>14.474323781467589</c:v>
                </c:pt>
                <c:pt idx="5">
                  <c:v>13.079059639143191</c:v>
                </c:pt>
              </c:numCache>
            </c:numRef>
          </c:xVal>
          <c:yVal>
            <c:numRef>
              <c:f>Sheet1!$B$2:$B$7</c:f>
              <c:numCache>
                <c:formatCode>General</c:formatCode>
                <c:ptCount val="6"/>
                <c:pt idx="0">
                  <c:v>1.1941185767724041</c:v>
                </c:pt>
                <c:pt idx="1">
                  <c:v>1.0891966059988201</c:v>
                </c:pt>
                <c:pt idx="2">
                  <c:v>0.76476554722613221</c:v>
                </c:pt>
                <c:pt idx="3">
                  <c:v>0.72300288300664994</c:v>
                </c:pt>
                <c:pt idx="4">
                  <c:v>1.0734120050909699</c:v>
                </c:pt>
                <c:pt idx="5">
                  <c:v>0.47901522374596212</c:v>
                </c:pt>
              </c:numCache>
            </c:numRef>
          </c:yVal>
          <c:bubbleSize>
            <c:numRef>
              <c:f>Sheet1!$C$2:$C$7</c:f>
              <c:numCache>
                <c:formatCode>General</c:formatCode>
                <c:ptCount val="6"/>
                <c:pt idx="0">
                  <c:v>5650707</c:v>
                </c:pt>
                <c:pt idx="1">
                  <c:v>1596963</c:v>
                </c:pt>
                <c:pt idx="2">
                  <c:v>1141205</c:v>
                </c:pt>
                <c:pt idx="3">
                  <c:v>1005903</c:v>
                </c:pt>
                <c:pt idx="4">
                  <c:v>864754</c:v>
                </c:pt>
                <c:pt idx="5">
                  <c:v>29430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B$2:$B$3</c:f>
              <c:numCache>
                <c:formatCode>General</c:formatCode>
                <c:ptCount val="2"/>
                <c:pt idx="0">
                  <c:v>27.14837712519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C$2:$C$3</c:f>
              <c:numCache>
                <c:formatCode>General</c:formatCode>
                <c:ptCount val="2"/>
                <c:pt idx="0">
                  <c:v>9.9933204690515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cat>
            <c:strRef>
              <c:f>Sheet1!$A$2:$A$3</c:f>
              <c:strCache>
                <c:ptCount val="2"/>
                <c:pt idx="0">
                  <c:v>All Others</c:v>
                </c:pt>
                <c:pt idx="1">
                  <c:v>Rem Pl</c:v>
                </c:pt>
              </c:strCache>
            </c:strRef>
          </c:cat>
          <c:val>
            <c:numRef>
              <c:f>Sheet1!$D$2:$D$3</c:f>
              <c:numCache>
                <c:formatCode>General</c:formatCode>
                <c:ptCount val="2"/>
                <c:pt idx="0">
                  <c:v>30.1149144254278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E$2:$E$3</c:f>
              <c:numCache>
                <c:formatCode>General</c:formatCode>
                <c:ptCount val="2"/>
                <c:pt idx="0">
                  <c:v>15.3046888036042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F$2:$F$3</c:f>
              <c:numCache>
                <c:formatCode>General</c:formatCode>
                <c:ptCount val="2"/>
                <c:pt idx="0">
                  <c:v>16.08563340410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All Others</c:v>
                </c:pt>
                <c:pt idx="1">
                  <c:v>Rem Pl</c:v>
                </c:pt>
              </c:strCache>
            </c:strRef>
          </c:cat>
          <c:val>
            <c:numRef>
              <c:f>Sheet1!$G$2:$G$3</c:f>
              <c:numCache>
                <c:formatCode>General</c:formatCode>
                <c:ptCount val="2"/>
                <c:pt idx="1">
                  <c:v>6.05298829328404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H$2:$H$3</c:f>
              <c:numCache>
                <c:formatCode>General</c:formatCode>
                <c:ptCount val="2"/>
                <c:pt idx="0">
                  <c:v>6.5120063063427258</c:v>
                </c:pt>
                <c:pt idx="1">
                  <c:v>4.70242745850739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All Others</c:v>
                </c:pt>
                <c:pt idx="1">
                  <c:v>Rem Pl</c:v>
                </c:pt>
              </c:strCache>
            </c:strRef>
          </c:cat>
          <c:val>
            <c:numRef>
              <c:f>Sheet1!$I$2:$I$3</c:f>
              <c:numCache>
                <c:formatCode>General</c:formatCode>
                <c:ptCount val="2"/>
                <c:pt idx="1">
                  <c:v>5.39465750120598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J$2:$J$3</c:f>
              <c:numCache>
                <c:formatCode>General</c:formatCode>
                <c:ptCount val="2"/>
                <c:pt idx="0">
                  <c:v>15.30619667086305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K$2:$K$3</c:f>
              <c:numCache>
                <c:formatCode>General</c:formatCode>
                <c:ptCount val="2"/>
                <c:pt idx="1">
                  <c:v>22.36363636363636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cat>
            <c:strRef>
              <c:f>Sheet1!$A$2:$A$3</c:f>
              <c:strCache>
                <c:ptCount val="2"/>
                <c:pt idx="0">
                  <c:v>All Others</c:v>
                </c:pt>
                <c:pt idx="1">
                  <c:v>Rem Pl</c:v>
                </c:pt>
              </c:strCache>
            </c:strRef>
          </c:cat>
          <c:val>
            <c:numRef>
              <c:f>Sheet1!$L$2:$L$3</c:f>
              <c:numCache>
                <c:formatCode>General</c:formatCode>
                <c:ptCount val="2"/>
                <c:pt idx="1">
                  <c:v>15.737636211232187</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B$2:$B$5</c:f>
              <c:numCache>
                <c:formatCode>General</c:formatCode>
                <c:ptCount val="4"/>
                <c:pt idx="2">
                  <c:v>9.10334114048085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C$2:$C$5</c:f>
              <c:numCache>
                <c:formatCode>General</c:formatCode>
                <c:ptCount val="4"/>
                <c:pt idx="0">
                  <c:v>30.057551479236114</c:v>
                </c:pt>
                <c:pt idx="2">
                  <c:v>8.66001020333794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D$2:$D$5</c:f>
              <c:numCache>
                <c:formatCode>General</c:formatCode>
                <c:ptCount val="4"/>
                <c:pt idx="0">
                  <c:v>9.4997787057170893</c:v>
                </c:pt>
                <c:pt idx="1">
                  <c:v>8.77565614185526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E$2:$E$5</c:f>
              <c:numCache>
                <c:formatCode>General</c:formatCode>
                <c:ptCount val="4"/>
                <c:pt idx="1">
                  <c:v>7.5224153820904194</c:v>
                </c:pt>
                <c:pt idx="3">
                  <c:v>4.35571099547897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F$2:$F$5</c:f>
              <c:numCache>
                <c:formatCode>General</c:formatCode>
                <c:ptCount val="4"/>
                <c:pt idx="0">
                  <c:v>15.9521809914107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G$2:$G$5</c:f>
              <c:numCache>
                <c:formatCode>General</c:formatCode>
                <c:ptCount val="4"/>
                <c:pt idx="0">
                  <c:v>20.98902391417867</c:v>
                </c:pt>
                <c:pt idx="1">
                  <c:v>17.7572870483916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Bic: All Others</c:v>
                </c:pt>
                <c:pt idx="2">
                  <c:v>Universal Razor Ind: All Others</c:v>
                </c:pt>
              </c:strCache>
            </c:strRef>
          </c:cat>
          <c:val>
            <c:numRef>
              <c:f>Sheet1!$B$2:$B$4</c:f>
              <c:numCache>
                <c:formatCode>General</c:formatCode>
                <c:ptCount val="3"/>
                <c:pt idx="0">
                  <c:v>23.0586198367548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C$2:$C$4</c:f>
              <c:numCache>
                <c:formatCode>General</c:formatCode>
                <c:ptCount val="3"/>
                <c:pt idx="1">
                  <c:v>6.14897466827502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D$2:$D$4</c:f>
              <c:numCache>
                <c:formatCode>General</c:formatCode>
                <c:ptCount val="3"/>
                <c:pt idx="0">
                  <c:v>19.4440789473684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E$2:$E$4</c:f>
              <c:numCache>
                <c:formatCode>General</c:formatCode>
                <c:ptCount val="3"/>
                <c:pt idx="2">
                  <c:v>49.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B$2:$B$5</c:f>
              <c:numCache>
                <c:formatCode>General</c:formatCode>
                <c:ptCount val="4"/>
                <c:pt idx="1">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C$2:$C$5</c:f>
              <c:numCache>
                <c:formatCode>General</c:formatCode>
                <c:ptCount val="4"/>
                <c:pt idx="0">
                  <c:v>11.595308573024296</c:v>
                </c:pt>
                <c:pt idx="1">
                  <c:v>33.79649251004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D$2:$D$5</c:f>
              <c:numCache>
                <c:formatCode>General</c:formatCode>
                <c:ptCount val="4"/>
                <c:pt idx="2">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E$2:$E$5</c:f>
              <c:numCache>
                <c:formatCode>General</c:formatCode>
                <c:ptCount val="4"/>
                <c:pt idx="0">
                  <c:v>12.6998030870863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F$2:$F$5</c:f>
              <c:numCache>
                <c:formatCode>General</c:formatCode>
                <c:ptCount val="4"/>
                <c:pt idx="1">
                  <c:v>9.78059286166561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G$2:$G$5</c:f>
              <c:numCache>
                <c:formatCode>General</c:formatCode>
                <c:ptCount val="4"/>
                <c:pt idx="0">
                  <c:v>16.01686943946681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H$2:$H$5</c:f>
              <c:numCache>
                <c:formatCode>General</c:formatCode>
                <c:ptCount val="4"/>
                <c:pt idx="3">
                  <c:v>8.80692046136409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I$2:$I$5</c:f>
              <c:numCache>
                <c:formatCode>General</c:formatCode>
                <c:ptCount val="4"/>
                <c:pt idx="0">
                  <c:v>10.4729825711631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B$2:$B$3</c:f>
              <c:numCache>
                <c:formatCode>General</c:formatCode>
                <c:ptCount val="2"/>
                <c:pt idx="1">
                  <c:v>11.471270666541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C$2:$C$3</c:f>
              <c:numCache>
                <c:formatCode>General</c:formatCode>
                <c:ptCount val="2"/>
                <c:pt idx="1">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Bic Soleil</c:v>
                </c:pt>
              </c:strCache>
            </c:strRef>
          </c:cat>
          <c:val>
            <c:numRef>
              <c:f>Sheet1!$D$2:$D$3</c:f>
              <c:numCache>
                <c:formatCode>General</c:formatCode>
                <c:ptCount val="2"/>
                <c:pt idx="0">
                  <c:v>8.1462418621068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E$2:$E$3</c:f>
              <c:numCache>
                <c:formatCode>General</c:formatCode>
                <c:ptCount val="2"/>
                <c:pt idx="0">
                  <c:v>8.08345389097855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F$2:$F$3</c:f>
              <c:numCache>
                <c:formatCode>General</c:formatCode>
                <c:ptCount val="2"/>
                <c:pt idx="0">
                  <c:v>9.9725460428492152</c:v>
                </c:pt>
                <c:pt idx="1">
                  <c:v>5.40755962201889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Bic Soleil</c:v>
                </c:pt>
              </c:strCache>
            </c:strRef>
          </c:cat>
          <c:val>
            <c:numRef>
              <c:f>Sheet1!$G$2:$G$3</c:f>
              <c:numCache>
                <c:formatCode>General</c:formatCode>
                <c:ptCount val="2"/>
                <c:pt idx="0">
                  <c:v>6.70274767279758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H$2:$H$3</c:f>
              <c:numCache>
                <c:formatCode>General</c:formatCode>
                <c:ptCount val="2"/>
                <c:pt idx="0">
                  <c:v>18.3037336024217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Gillette Venus</c:v>
                </c:pt>
                <c:pt idx="1">
                  <c:v>Bic Soleil</c:v>
                </c:pt>
              </c:strCache>
            </c:strRef>
          </c:cat>
          <c:val>
            <c:numRef>
              <c:f>Sheet1!$I$2:$I$3</c:f>
              <c:numCache>
                <c:formatCode>General</c:formatCode>
                <c:ptCount val="2"/>
                <c:pt idx="0">
                  <c:v>19.771801635452388</c:v>
                </c:pt>
                <c:pt idx="1">
                  <c:v>8.851156668210515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B$2:$B$5</c:f>
              <c:numCache>
                <c:formatCode>General</c:formatCode>
                <c:ptCount val="4"/>
                <c:pt idx="1">
                  <c:v>18.005910768989082</c:v>
                </c:pt>
                <c:pt idx="2">
                  <c:v>11.133635051088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C$2:$C$5</c:f>
              <c:numCache>
                <c:formatCode>General</c:formatCode>
                <c:ptCount val="4"/>
                <c:pt idx="0">
                  <c:v>29.039888528408618</c:v>
                </c:pt>
                <c:pt idx="2">
                  <c:v>13.0574328091892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D$2:$D$5</c:f>
              <c:numCache>
                <c:formatCode>General</c:formatCode>
                <c:ptCount val="4"/>
                <c:pt idx="0">
                  <c:v>35.7664535539676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E$2:$E$5</c:f>
              <c:numCache>
                <c:formatCode>General</c:formatCode>
                <c:ptCount val="4"/>
                <c:pt idx="1">
                  <c:v>23.0364051789794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F$2:$F$5</c:f>
              <c:numCache>
                <c:formatCode>General</c:formatCode>
                <c:ptCount val="4"/>
                <c:pt idx="0">
                  <c:v>8.7927606978230415</c:v>
                </c:pt>
                <c:pt idx="3">
                  <c:v>6.53166496424923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G$2:$G$5</c:f>
              <c:numCache>
                <c:formatCode>General</c:formatCode>
                <c:ptCount val="4"/>
                <c:pt idx="0">
                  <c:v>10.203267509763354</c:v>
                </c:pt>
                <c:pt idx="1">
                  <c:v>10.066670877015705</c:v>
                </c:pt>
                <c:pt idx="2">
                  <c:v>5.51731473461883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H$2:$H$5</c:f>
              <c:numCache>
                <c:formatCode>General</c:formatCode>
                <c:ptCount val="4"/>
                <c:pt idx="0">
                  <c:v>21.312211270041256</c:v>
                </c:pt>
                <c:pt idx="1">
                  <c:v>10.029849957734573</c:v>
                </c:pt>
                <c:pt idx="2">
                  <c:v>6.39528221843261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I$2:$I$5</c:f>
              <c:numCache>
                <c:formatCode>General</c:formatCode>
                <c:ptCount val="4"/>
                <c:pt idx="0">
                  <c:v>17.382500986971969</c:v>
                </c:pt>
                <c:pt idx="1">
                  <c:v>10.8743548797704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J$2:$J$5</c:f>
              <c:numCache>
                <c:formatCode>General</c:formatCode>
                <c:ptCount val="4"/>
                <c:pt idx="0">
                  <c:v>22.957207396806691</c:v>
                </c:pt>
                <c:pt idx="1">
                  <c:v>14.20577964030033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B$2:$B$9</c:f>
              <c:numCache>
                <c:formatCode>General</c:formatCode>
                <c:ptCount val="8"/>
                <c:pt idx="3">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C$2:$C$9</c:f>
              <c:numCache>
                <c:formatCode>General</c:formatCode>
                <c:ptCount val="8"/>
                <c:pt idx="4">
                  <c:v>27.704119422672044</c:v>
                </c:pt>
                <c:pt idx="5">
                  <c:v>9.849046096996501</c:v>
                </c:pt>
                <c:pt idx="6">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D$2:$D$9</c:f>
              <c:numCache>
                <c:formatCode>General</c:formatCode>
                <c:ptCount val="8"/>
                <c:pt idx="2">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E$2:$E$9</c:f>
              <c:numCache>
                <c:formatCode>General</c:formatCode>
                <c:ptCount val="8"/>
                <c:pt idx="2">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F$2:$F$9</c:f>
              <c:numCache>
                <c:formatCode>General</c:formatCode>
                <c:ptCount val="8"/>
                <c:pt idx="0">
                  <c:v>10.8277923950963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G$2:$G$9</c:f>
              <c:numCache>
                <c:formatCode>General</c:formatCode>
                <c:ptCount val="8"/>
                <c:pt idx="0">
                  <c:v>11.508478867366289</c:v>
                </c:pt>
                <c:pt idx="5">
                  <c:v>9.89935322593444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H$2:$H$9</c:f>
              <c:numCache>
                <c:formatCode>General</c:formatCode>
                <c:ptCount val="8"/>
                <c:pt idx="0">
                  <c:v>19.489632487169771</c:v>
                </c:pt>
                <c:pt idx="1">
                  <c:v>16.389547336855632</c:v>
                </c:pt>
                <c:pt idx="3">
                  <c:v>14.546779896817576</c:v>
                </c:pt>
                <c:pt idx="6">
                  <c:v>11.4010477648683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I$2:$I$9</c:f>
              <c:numCache>
                <c:formatCode>General</c:formatCode>
                <c:ptCount val="8"/>
                <c:pt idx="1">
                  <c:v>15.97702533823556</c:v>
                </c:pt>
                <c:pt idx="7">
                  <c:v>18.9432100724752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J$2:$J$9</c:f>
              <c:numCache>
                <c:formatCode>General</c:formatCode>
                <c:ptCount val="8"/>
                <c:pt idx="0">
                  <c:v>25.645980628915343</c:v>
                </c:pt>
                <c:pt idx="1">
                  <c:v>16.554031364984102</c:v>
                </c:pt>
                <c:pt idx="2">
                  <c:v>10.280824529397616</c:v>
                </c:pt>
                <c:pt idx="3">
                  <c:v>14.821070599370616</c:v>
                </c:pt>
                <c:pt idx="4">
                  <c:v>15.96846813853719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K$2:$K$9</c:f>
              <c:numCache>
                <c:formatCode>General</c:formatCode>
                <c:ptCount val="8"/>
                <c:pt idx="5">
                  <c:v>16.539010607712896</c:v>
                </c:pt>
                <c:pt idx="6">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B$2:$B$3</c:f>
              <c:numCache>
                <c:formatCode>General</c:formatCode>
                <c:ptCount val="2"/>
                <c:pt idx="0">
                  <c:v>27.14837712519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C$2:$C$3</c:f>
              <c:numCache>
                <c:formatCode>General</c:formatCode>
                <c:ptCount val="2"/>
                <c:pt idx="0">
                  <c:v>9.9933204690515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cat>
            <c:strRef>
              <c:f>Sheet1!$A$2:$A$3</c:f>
              <c:strCache>
                <c:ptCount val="2"/>
                <c:pt idx="0">
                  <c:v>All Others</c:v>
                </c:pt>
                <c:pt idx="1">
                  <c:v>Rem Pl</c:v>
                </c:pt>
              </c:strCache>
            </c:strRef>
          </c:cat>
          <c:val>
            <c:numRef>
              <c:f>Sheet1!$D$2:$D$3</c:f>
              <c:numCache>
                <c:formatCode>General</c:formatCode>
                <c:ptCount val="2"/>
                <c:pt idx="0">
                  <c:v>30.1149144254278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E$2:$E$3</c:f>
              <c:numCache>
                <c:formatCode>General</c:formatCode>
                <c:ptCount val="2"/>
                <c:pt idx="0">
                  <c:v>15.3782922328468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F$2:$F$3</c:f>
              <c:numCache>
                <c:formatCode>General</c:formatCode>
                <c:ptCount val="2"/>
                <c:pt idx="0">
                  <c:v>16.08563340410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All Others</c:v>
                </c:pt>
                <c:pt idx="1">
                  <c:v>Rem Pl</c:v>
                </c:pt>
              </c:strCache>
            </c:strRef>
          </c:cat>
          <c:val>
            <c:numRef>
              <c:f>Sheet1!$G$2:$G$3</c:f>
              <c:numCache>
                <c:formatCode>General</c:formatCode>
                <c:ptCount val="2"/>
                <c:pt idx="0">
                  <c:v>17.359539789069991</c:v>
                </c:pt>
                <c:pt idx="1">
                  <c:v>9.84331797235022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H$2:$H$3</c:f>
              <c:numCache>
                <c:formatCode>General</c:formatCode>
                <c:ptCount val="2"/>
                <c:pt idx="0">
                  <c:v>15.3061966708630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All Others</c:v>
                </c:pt>
                <c:pt idx="1">
                  <c:v>Rem Pl</c:v>
                </c:pt>
              </c:strCache>
            </c:strRef>
          </c:cat>
          <c:val>
            <c:numRef>
              <c:f>Sheet1!$I$2:$I$3</c:f>
              <c:numCache>
                <c:formatCode>General</c:formatCode>
                <c:ptCount val="2"/>
                <c:pt idx="1">
                  <c:v>22.3636363636363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J$2:$J$3</c:f>
              <c:numCache>
                <c:formatCode>General</c:formatCode>
                <c:ptCount val="2"/>
                <c:pt idx="1">
                  <c:v>15.73763621123218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B$2:$B$5</c:f>
              <c:numCache>
                <c:formatCode>General</c:formatCode>
                <c:ptCount val="4"/>
                <c:pt idx="1">
                  <c:v>31.041118421052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C$2:$C$5</c:f>
              <c:numCache>
                <c:formatCode>General</c:formatCode>
                <c:ptCount val="4"/>
                <c:pt idx="2">
                  <c:v>14.0352235991379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D$2:$D$5</c:f>
              <c:numCache>
                <c:formatCode>General</c:formatCode>
                <c:ptCount val="4"/>
                <c:pt idx="1">
                  <c:v>8.77650500007657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E$2:$E$5</c:f>
              <c:numCache>
                <c:formatCode>General</c:formatCode>
                <c:ptCount val="4"/>
                <c:pt idx="3">
                  <c:v>4.93883922615076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F$2:$F$5</c:f>
              <c:numCache>
                <c:formatCode>General</c:formatCode>
                <c:ptCount val="4"/>
                <c:pt idx="0">
                  <c:v>22.7539873054209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G$2:$G$5</c:f>
              <c:numCache>
                <c:formatCode>General</c:formatCode>
                <c:ptCount val="4"/>
                <c:pt idx="0">
                  <c:v>20.313734164488235</c:v>
                </c:pt>
                <c:pt idx="1">
                  <c:v>17.75728704839166</c:v>
                </c:pt>
                <c:pt idx="2">
                  <c:v>16.8506814141813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B$2:$B$10</c:f>
              <c:numCache>
                <c:formatCode>General</c:formatCode>
                <c:ptCount val="9"/>
                <c:pt idx="6">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C$2:$C$10</c:f>
              <c:numCache>
                <c:formatCode>General</c:formatCode>
                <c:ptCount val="9"/>
                <c:pt idx="2">
                  <c:v>7.1250459018801413</c:v>
                </c:pt>
                <c:pt idx="3">
                  <c:v>15.177079593058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D$2:$D$10</c:f>
              <c:numCache>
                <c:formatCode>General</c:formatCode>
                <c:ptCount val="9"/>
                <c:pt idx="0">
                  <c:v>8.0810681713965451</c:v>
                </c:pt>
                <c:pt idx="1">
                  <c:v>5.969746647813821</c:v>
                </c:pt>
                <c:pt idx="3">
                  <c:v>8.0151432445281827</c:v>
                </c:pt>
                <c:pt idx="4">
                  <c:v>12.493100524205982</c:v>
                </c:pt>
                <c:pt idx="5">
                  <c:v>6.2132192237789585</c:v>
                </c:pt>
                <c:pt idx="7">
                  <c:v>13.029867568329108</c:v>
                </c:pt>
                <c:pt idx="8">
                  <c:v>5.38695692709304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E$2:$E$10</c:f>
              <c:numCache>
                <c:formatCode>General</c:formatCode>
                <c:ptCount val="9"/>
                <c:pt idx="0">
                  <c:v>18.8450540637703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F0D131-7D82-417C-BBB5-43F7106C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E3D122-4C0D-4B11-8AAB-DDF96BB61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1A2B2B-1AF4-4CCE-B39F-4CD999465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5810EC-A2D2-4035-BFF0-1D7630CFC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FA3082-8999-4191-9F78-91A4A50BF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F4B011-56F7-483A-BFE9-E201B619F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10E9D7-9F80-4E63-8324-D2E17C20C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F2251B-9CB3-4079-A53D-4FCDBF3F6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8032900737558055</c:v>
                </c:pt>
                <c:pt idx="1">
                  <c:v>7.8407946161723832</c:v>
                </c:pt>
                <c:pt idx="2">
                  <c:v>11.99647457627119</c:v>
                </c:pt>
                <c:pt idx="3">
                  <c:v>14.119501691787139</c:v>
                </c:pt>
                <c:pt idx="4">
                  <c:v>13.56458923512748</c:v>
                </c:pt>
              </c:numCache>
            </c:numRef>
          </c:xVal>
          <c:yVal>
            <c:numRef>
              <c:f>Sheet1!$B$2:$B$6</c:f>
              <c:numCache>
                <c:formatCode>General</c:formatCode>
                <c:ptCount val="5"/>
                <c:pt idx="0">
                  <c:v>1.0438249330676399</c:v>
                </c:pt>
                <c:pt idx="1">
                  <c:v>0.8830822175597971</c:v>
                </c:pt>
                <c:pt idx="2">
                  <c:v>1.7675236099591529</c:v>
                </c:pt>
                <c:pt idx="3">
                  <c:v>0.53365452111726774</c:v>
                </c:pt>
                <c:pt idx="4">
                  <c:v>2.035914131972747</c:v>
                </c:pt>
              </c:numCache>
            </c:numRef>
          </c:yVal>
          <c:bubbleSize>
            <c:numRef>
              <c:f>Sheet1!$C$2:$C$6</c:f>
              <c:numCache>
                <c:formatCode>General</c:formatCode>
                <c:ptCount val="5"/>
                <c:pt idx="0">
                  <c:v>1901361</c:v>
                </c:pt>
                <c:pt idx="1">
                  <c:v>750317</c:v>
                </c:pt>
                <c:pt idx="2">
                  <c:v>176948</c:v>
                </c:pt>
                <c:pt idx="3">
                  <c:v>91805</c:v>
                </c:pt>
                <c:pt idx="4">
                  <c:v>47883</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906148142726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81457760173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1912132460333851</c:v>
                </c:pt>
                <c:pt idx="1">
                  <c:v>9.85451990632318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948965887166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97992031179505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75517639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0359878710501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460693235353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5347854990028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0903492389931877</c:v>
                </c:pt>
                <c:pt idx="2">
                  <c:v>12.7204264870931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693506378846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9621375269194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112547233795175</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063247057116428</c:v>
                </c:pt>
                <c:pt idx="1">
                  <c:v>11.537165123005963</c:v>
                </c:pt>
                <c:pt idx="2">
                  <c:v>12.128967559135335</c:v>
                </c:pt>
                <c:pt idx="3">
                  <c:v>12.39414269126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1864641645754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24465711740546</c:v>
                </c:pt>
                <c:pt idx="1">
                  <c:v>12.001885592593688</c:v>
                </c:pt>
                <c:pt idx="2">
                  <c:v>10.851963768709204</c:v>
                </c:pt>
                <c:pt idx="3">
                  <c:v>20.8539511862092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370282040647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0.5728046670962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26923076923077</c:v>
                </c:pt>
                <c:pt idx="2">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13206491326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81271644272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B$2:$B$10</c:f>
              <c:numCache>
                <c:formatCode>General</c:formatCode>
                <c:ptCount val="9"/>
                <c:pt idx="2">
                  <c:v>5.9834201725498843</c:v>
                </c:pt>
                <c:pt idx="5">
                  <c:v>5.9471981714994095</c:v>
                </c:pt>
                <c:pt idx="7">
                  <c:v>2.9410525661093203</c:v>
                </c:pt>
                <c:pt idx="8">
                  <c:v>14.9340326457039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C$2:$C$10</c:f>
              <c:numCache>
                <c:formatCode>General</c:formatCode>
                <c:ptCount val="9"/>
                <c:pt idx="0">
                  <c:v>5.9600625454512706</c:v>
                </c:pt>
                <c:pt idx="1">
                  <c:v>5.3957194815687926</c:v>
                </c:pt>
                <c:pt idx="3">
                  <c:v>4.9614314020305725</c:v>
                </c:pt>
                <c:pt idx="5">
                  <c:v>2.6745526989356452</c:v>
                </c:pt>
                <c:pt idx="6">
                  <c:v>10.9364039386582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D$2:$D$10</c:f>
              <c:numCache>
                <c:formatCode>General</c:formatCode>
                <c:ptCount val="9"/>
                <c:pt idx="0">
                  <c:v>8.9206005053423709</c:v>
                </c:pt>
                <c:pt idx="4">
                  <c:v>5.14766401159093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E$2:$E$10</c:f>
              <c:numCache>
                <c:formatCode>General</c:formatCode>
                <c:ptCount val="9"/>
                <c:pt idx="0">
                  <c:v>11.88494430660402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800636341210645</c:v>
                </c:pt>
                <c:pt idx="3">
                  <c:v>2.49112696756744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896421357460978</c:v>
                </c:pt>
                <c:pt idx="2">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810110019226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984756309451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9044123569505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7479183405025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693076933308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941702422494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513737409137324</c:v>
                </c:pt>
                <c:pt idx="1">
                  <c:v>4.215246283017823</c:v>
                </c:pt>
                <c:pt idx="2">
                  <c:v>3.98227684686763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88556164685002</c:v>
                </c:pt>
                <c:pt idx="1">
                  <c:v>5.4383104235071515</c:v>
                </c:pt>
                <c:pt idx="2">
                  <c:v>3.6766329892579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0936540649350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75531591088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801365984162786</c:v>
                </c:pt>
                <c:pt idx="1">
                  <c:v>9.268704884848947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78958269193092</c:v>
                </c:pt>
                <c:pt idx="5">
                  <c:v>5.4545857356979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66276010840331</c:v>
                </c:pt>
                <c:pt idx="2">
                  <c:v>5.4554521804750182</c:v>
                </c:pt>
                <c:pt idx="3">
                  <c:v>4.35746584435884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721466933142526</c:v>
                </c:pt>
                <c:pt idx="2">
                  <c:v>6.2078456501496841</c:v>
                </c:pt>
                <c:pt idx="4">
                  <c:v>14.987760649925775</c:v>
                </c:pt>
                <c:pt idx="5">
                  <c:v>6.53427980569217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058122603951638</c:v>
                </c:pt>
                <c:pt idx="3">
                  <c:v>7.77815070478675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375074873301352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B$2:$B$8</c:f>
              <c:numCache>
                <c:formatCode>General</c:formatCode>
                <c:ptCount val="7"/>
                <c:pt idx="2">
                  <c:v>1.9833717513328992</c:v>
                </c:pt>
                <c:pt idx="3">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C$2:$C$8</c:f>
              <c:numCache>
                <c:formatCode>General</c:formatCode>
                <c:ptCount val="7"/>
                <c:pt idx="0">
                  <c:v>11.547957424110542</c:v>
                </c:pt>
                <c:pt idx="1">
                  <c:v>9.9189749301666783</c:v>
                </c:pt>
                <c:pt idx="2">
                  <c:v>5.750218389084889</c:v>
                </c:pt>
                <c:pt idx="3">
                  <c:v>9.9504877473154227</c:v>
                </c:pt>
                <c:pt idx="4">
                  <c:v>9.2833767303155739</c:v>
                </c:pt>
                <c:pt idx="5">
                  <c:v>6.8743777065182803</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D$2:$D$8</c:f>
              <c:numCache>
                <c:formatCode>General</c:formatCode>
                <c:ptCount val="7"/>
                <c:pt idx="2">
                  <c:v>5.4032818896360313</c:v>
                </c:pt>
                <c:pt idx="3">
                  <c:v>9.6833726826479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E$2:$E$8</c:f>
              <c:numCache>
                <c:formatCode>General</c:formatCode>
                <c:ptCount val="7"/>
                <c:pt idx="0">
                  <c:v>19.322910547357409</c:v>
                </c:pt>
                <c:pt idx="1">
                  <c:v>9.9711573332034629</c:v>
                </c:pt>
                <c:pt idx="2">
                  <c:v>6.9642626560083238</c:v>
                </c:pt>
                <c:pt idx="3">
                  <c:v>14.532863408433393</c:v>
                </c:pt>
                <c:pt idx="4">
                  <c:v>9.7228079652237973</c:v>
                </c:pt>
                <c:pt idx="5">
                  <c:v>9.5361806568271152</c:v>
                </c:pt>
                <c:pt idx="6">
                  <c:v>9.80906730460658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F$2:$F$8</c:f>
              <c:numCache>
                <c:formatCode>General</c:formatCode>
                <c:ptCount val="7"/>
                <c:pt idx="0">
                  <c:v>26.084387621621104</c:v>
                </c:pt>
                <c:pt idx="2">
                  <c:v>8.536319590770713</c:v>
                </c:pt>
                <c:pt idx="3">
                  <c:v>17.9209711926617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G$2:$G$8</c:f>
              <c:numCache>
                <c:formatCode>General</c:formatCode>
                <c:ptCount val="7"/>
                <c:pt idx="1">
                  <c:v>16.892719741613259</c:v>
                </c:pt>
                <c:pt idx="4">
                  <c:v>16.914058625460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2DA893-C438-4260-8A2E-DEEB0B812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3B174B-5CEA-433C-ABFE-7DE1DBB9F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21070A-03F2-4BC5-8AB4-FFAF7FCA5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C375FD-461B-46A5-927A-F160A6D3F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988789-B886-4BBB-BE0B-521F79096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377E5E-BFDB-4110-A535-DE8EBF528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27F867-DD4A-4B53-BEC4-CA8CCFAD1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75FE84-5978-488C-BFE1-6DEA383A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61972554398729</c:v>
                </c:pt>
                <c:pt idx="1">
                  <c:v>16.86329450350599</c:v>
                </c:pt>
                <c:pt idx="2">
                  <c:v>13.711441185930241</c:v>
                </c:pt>
                <c:pt idx="3">
                  <c:v>12.10951526032316</c:v>
                </c:pt>
                <c:pt idx="4">
                  <c:v>12.4527314066894</c:v>
                </c:pt>
                <c:pt idx="5">
                  <c:v>13.22154963680387</c:v>
                </c:pt>
              </c:numCache>
            </c:numRef>
          </c:xVal>
          <c:yVal>
            <c:numRef>
              <c:f>Sheet1!$B$2:$B$7</c:f>
              <c:numCache>
                <c:formatCode>General</c:formatCode>
                <c:ptCount val="6"/>
                <c:pt idx="0">
                  <c:v>1.2014665923263159</c:v>
                </c:pt>
                <c:pt idx="1">
                  <c:v>1.0824950819654739</c:v>
                </c:pt>
                <c:pt idx="2">
                  <c:v>0.97867657664331464</c:v>
                </c:pt>
                <c:pt idx="3">
                  <c:v>0.76095891660130477</c:v>
                </c:pt>
                <c:pt idx="4">
                  <c:v>0.71505933814595057</c:v>
                </c:pt>
                <c:pt idx="5">
                  <c:v>0.47196470904218379</c:v>
                </c:pt>
              </c:numCache>
            </c:numRef>
          </c:yVal>
          <c:bubbleSize>
            <c:numRef>
              <c:f>Sheet1!$C$2:$C$7</c:f>
              <c:numCache>
                <c:formatCode>General</c:formatCode>
                <c:ptCount val="6"/>
                <c:pt idx="0">
                  <c:v>2584924</c:v>
                </c:pt>
                <c:pt idx="1">
                  <c:v>596421</c:v>
                </c:pt>
                <c:pt idx="2">
                  <c:v>468945</c:v>
                </c:pt>
                <c:pt idx="3">
                  <c:v>465405</c:v>
                </c:pt>
                <c:pt idx="4">
                  <c:v>416245</c:v>
                </c:pt>
                <c:pt idx="5">
                  <c:v>12013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66423476968796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2041929115352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9636630051038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3115686105607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cat>
            <c:strRef>
              <c:f>Sheet1!$A$2:$A$2</c:f>
              <c:strCache>
                <c:ptCount val="1"/>
                <c:pt idx="0">
                  <c:v>Bic: All Others</c:v>
                </c:pt>
              </c:strCache>
            </c:strRef>
          </c:cat>
          <c:val>
            <c:numRef>
              <c:f>Sheet1!$B$2:$B$2</c:f>
              <c:numCache>
                <c:formatCode>General</c:formatCode>
                <c:ptCount val="1"/>
                <c:pt idx="0">
                  <c:v>6.14897466827502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ilky Touch</c:v>
                </c:pt>
                <c:pt idx="2">
                  <c:v>Daisy</c:v>
                </c:pt>
              </c:strCache>
            </c:strRef>
          </c:cat>
          <c:val>
            <c:numRef>
              <c:f>Sheet1!$B$2:$B$4</c:f>
              <c:numCache>
                <c:formatCode>General</c:formatCode>
                <c:ptCount val="3"/>
                <c:pt idx="1">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C$2:$C$4</c:f>
              <c:numCache>
                <c:formatCode>General</c:formatCode>
                <c:ptCount val="3"/>
                <c:pt idx="0">
                  <c:v>11.5953085730242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D$2:$D$4</c:f>
              <c:numCache>
                <c:formatCode>General</c:formatCode>
                <c:ptCount val="3"/>
                <c:pt idx="2">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E$2:$E$4</c:f>
              <c:numCache>
                <c:formatCode>General</c:formatCode>
                <c:ptCount val="3"/>
                <c:pt idx="1">
                  <c:v>9.78059286166561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F$2:$F$4</c:f>
              <c:numCache>
                <c:formatCode>General</c:formatCode>
                <c:ptCount val="3"/>
                <c:pt idx="0">
                  <c:v>16.0180658873538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ilky Touch</c:v>
                </c:pt>
                <c:pt idx="2">
                  <c:v>Daisy</c:v>
                </c:pt>
              </c:strCache>
            </c:strRef>
          </c:cat>
          <c:val>
            <c:numRef>
              <c:f>Sheet1!$G$2:$G$4</c:f>
              <c:numCache>
                <c:formatCode>General</c:formatCode>
                <c:ptCount val="3"/>
                <c:pt idx="0">
                  <c:v>10.47298257116319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B$2:$B$3</c:f>
              <c:numCache>
                <c:formatCode>General</c:formatCode>
                <c:ptCount val="2"/>
                <c:pt idx="1">
                  <c:v>15.1467447401050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C$2:$C$3</c:f>
              <c:numCache>
                <c:formatCode>General</c:formatCode>
                <c:ptCount val="2"/>
                <c:pt idx="0">
                  <c:v>7.81723235923936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Bic Soleil</c:v>
                </c:pt>
              </c:strCache>
            </c:strRef>
          </c:cat>
          <c:val>
            <c:numRef>
              <c:f>Sheet1!$D$2:$D$3</c:f>
              <c:numCache>
                <c:formatCode>General</c:formatCode>
                <c:ptCount val="2"/>
                <c:pt idx="0">
                  <c:v>8.08390003559452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E$2:$E$3</c:f>
              <c:numCache>
                <c:formatCode>General</c:formatCode>
                <c:ptCount val="2"/>
                <c:pt idx="0">
                  <c:v>9.7572242312154955</c:v>
                </c:pt>
                <c:pt idx="1">
                  <c:v>5.36300283373375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F$2:$F$3</c:f>
              <c:numCache>
                <c:formatCode>General</c:formatCode>
                <c:ptCount val="2"/>
                <c:pt idx="0">
                  <c:v>6.6700476340741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Bic Soleil</c:v>
                </c:pt>
              </c:strCache>
            </c:strRef>
          </c:cat>
          <c:val>
            <c:numRef>
              <c:f>Sheet1!$G$2:$G$3</c:f>
              <c:numCache>
                <c:formatCode>General</c:formatCode>
                <c:ptCount val="2"/>
                <c:pt idx="0">
                  <c:v>18.3036767057592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H$2:$H$3</c:f>
              <c:numCache>
                <c:formatCode>General</c:formatCode>
                <c:ptCount val="2"/>
                <c:pt idx="0">
                  <c:v>19.753996424136201</c:v>
                </c:pt>
                <c:pt idx="1">
                  <c:v>8.325554595217516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B$2:$B$5</c:f>
              <c:numCache>
                <c:formatCode>General</c:formatCode>
                <c:ptCount val="4"/>
                <c:pt idx="1">
                  <c:v>18.910897715699111</c:v>
                </c:pt>
                <c:pt idx="2">
                  <c:v>11.003109781141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C$2:$C$5</c:f>
              <c:numCache>
                <c:formatCode>General</c:formatCode>
                <c:ptCount val="4"/>
                <c:pt idx="2">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D$2:$D$5</c:f>
              <c:numCache>
                <c:formatCode>General</c:formatCode>
                <c:ptCount val="4"/>
                <c:pt idx="0">
                  <c:v>8.7466211966624279</c:v>
                </c:pt>
                <c:pt idx="3">
                  <c:v>6.53166496424923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E$2:$E$5</c:f>
              <c:numCache>
                <c:formatCode>General</c:formatCode>
                <c:ptCount val="4"/>
                <c:pt idx="0">
                  <c:v>10.153263435252786</c:v>
                </c:pt>
                <c:pt idx="1">
                  <c:v>10.0132166301969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F$2:$F$5</c:f>
              <c:numCache>
                <c:formatCode>General</c:formatCode>
                <c:ptCount val="4"/>
                <c:pt idx="0">
                  <c:v>21.2677266760779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G$2:$G$5</c:f>
              <c:numCache>
                <c:formatCode>General</c:formatCode>
                <c:ptCount val="4"/>
                <c:pt idx="1">
                  <c:v>10.6844865072259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H$2:$H$5</c:f>
              <c:numCache>
                <c:formatCode>General</c:formatCode>
                <c:ptCount val="4"/>
                <c:pt idx="0">
                  <c:v>19.150436355896126</c:v>
                </c:pt>
                <c:pt idx="1">
                  <c:v>11.84055773200219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I$2:$I$5</c:f>
              <c:numCache>
                <c:formatCode>General</c:formatCode>
                <c:ptCount val="4"/>
                <c:pt idx="0">
                  <c:v>23.092950492189946</c:v>
                </c:pt>
                <c:pt idx="1">
                  <c:v>13.53942984079970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B$2:$B$9</c:f>
              <c:numCache>
                <c:formatCode>General</c:formatCode>
                <c:ptCount val="8"/>
                <c:pt idx="3">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C$2:$C$9</c:f>
              <c:numCache>
                <c:formatCode>General</c:formatCode>
                <c:ptCount val="8"/>
                <c:pt idx="2">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D$2:$D$9</c:f>
              <c:numCache>
                <c:formatCode>General</c:formatCode>
                <c:ptCount val="8"/>
                <c:pt idx="2">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F$2:$F$9</c:f>
              <c:numCache>
                <c:formatCode>General</c:formatCode>
                <c:ptCount val="8"/>
                <c:pt idx="0">
                  <c:v>12.121949593279103</c:v>
                </c:pt>
                <c:pt idx="3">
                  <c:v>9.9289530789387488</c:v>
                </c:pt>
                <c:pt idx="7">
                  <c:v>6.5853873239436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G$2:$G$9</c:f>
              <c:numCache>
                <c:formatCode>General</c:formatCode>
                <c:ptCount val="8"/>
                <c:pt idx="0">
                  <c:v>19.706226464967738</c:v>
                </c:pt>
                <c:pt idx="1">
                  <c:v>16.430082461610187</c:v>
                </c:pt>
                <c:pt idx="4">
                  <c:v>14.519237344381649</c:v>
                </c:pt>
                <c:pt idx="5">
                  <c:v>11.35090851324568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H$2:$H$9</c:f>
              <c:numCache>
                <c:formatCode>General</c:formatCode>
                <c:ptCount val="8"/>
                <c:pt idx="1">
                  <c:v>15.96043861731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I$2:$I$9</c:f>
              <c:numCache>
                <c:formatCode>General</c:formatCode>
                <c:ptCount val="8"/>
                <c:pt idx="0">
                  <c:v>26.16998427747868</c:v>
                </c:pt>
                <c:pt idx="1">
                  <c:v>16.603794493589866</c:v>
                </c:pt>
                <c:pt idx="2">
                  <c:v>10.289732840831936</c:v>
                </c:pt>
                <c:pt idx="4">
                  <c:v>14.821070599370616</c:v>
                </c:pt>
                <c:pt idx="6">
                  <c:v>16.606157295619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J$2:$J$9</c:f>
              <c:numCache>
                <c:formatCode>General</c:formatCode>
                <c:ptCount val="8"/>
                <c:pt idx="3">
                  <c:v>16.65257610276961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Intuition</c:v>
                </c:pt>
                <c:pt idx="2">
                  <c:v>All Others</c:v>
                </c:pt>
              </c:strCache>
            </c:strRef>
          </c:cat>
          <c:val>
            <c:numRef>
              <c:f>Sheet1!$B$2:$B$4</c:f>
              <c:numCache>
                <c:formatCode>General</c:formatCode>
                <c:ptCount val="3"/>
                <c:pt idx="2">
                  <c:v>13.9544945535986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C$2:$C$4</c:f>
              <c:numCache>
                <c:formatCode>General</c:formatCode>
                <c:ptCount val="3"/>
                <c:pt idx="1">
                  <c:v>9.23116501286291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D$2:$D$4</c:f>
              <c:numCache>
                <c:formatCode>General</c:formatCode>
                <c:ptCount val="3"/>
                <c:pt idx="0">
                  <c:v>22.7539873054209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E$2:$E$4</c:f>
              <c:numCache>
                <c:formatCode>General</c:formatCode>
                <c:ptCount val="3"/>
                <c:pt idx="0">
                  <c:v>19.94211637788464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B$2:$B$10</c:f>
              <c:numCache>
                <c:formatCode>General</c:formatCode>
                <c:ptCount val="9"/>
                <c:pt idx="6">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C$2:$C$10</c:f>
              <c:numCache>
                <c:formatCode>General</c:formatCode>
                <c:ptCount val="9"/>
                <c:pt idx="2">
                  <c:v>7.1250459018801413</c:v>
                </c:pt>
                <c:pt idx="3">
                  <c:v>15.177079593058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D$2:$D$10</c:f>
              <c:numCache>
                <c:formatCode>General</c:formatCode>
                <c:ptCount val="9"/>
                <c:pt idx="0">
                  <c:v>8.0810681713965451</c:v>
                </c:pt>
                <c:pt idx="1">
                  <c:v>5.969746647813821</c:v>
                </c:pt>
                <c:pt idx="3">
                  <c:v>8.0151432445281827</c:v>
                </c:pt>
                <c:pt idx="4">
                  <c:v>12.493100524205982</c:v>
                </c:pt>
                <c:pt idx="5">
                  <c:v>6.2132192237789585</c:v>
                </c:pt>
                <c:pt idx="7">
                  <c:v>13.029867568329108</c:v>
                </c:pt>
                <c:pt idx="8">
                  <c:v>5.38695692709304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E$2:$E$10</c:f>
              <c:numCache>
                <c:formatCode>General</c:formatCode>
                <c:ptCount val="9"/>
                <c:pt idx="0">
                  <c:v>18.8450540637703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597EE5-AC6D-447D-B7A6-EB62DC68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97B576-CC3B-49DA-8A2D-48F92B29B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165101-3C69-4D74-8438-CFDA9B6D1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660E8D-EE96-4959-963C-33CBBE378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724057-7761-4EC2-B903-34C105D4B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5409F7-33B7-4814-BFD6-DF32CC343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7160DE-56B2-4E08-B24A-30312E80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DED9D9-30D4-43CA-B94A-B01A1CD29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132662214228279</c:v>
                </c:pt>
                <c:pt idx="1">
                  <c:v>8.1821534912417171</c:v>
                </c:pt>
                <c:pt idx="2">
                  <c:v>12.190057340087961</c:v>
                </c:pt>
                <c:pt idx="3">
                  <c:v>14.15857628590031</c:v>
                </c:pt>
                <c:pt idx="4">
                  <c:v>13.762620638455831</c:v>
                </c:pt>
              </c:numCache>
            </c:numRef>
          </c:xVal>
          <c:yVal>
            <c:numRef>
              <c:f>Sheet1!$B$2:$B$6</c:f>
              <c:numCache>
                <c:formatCode>General</c:formatCode>
                <c:ptCount val="5"/>
                <c:pt idx="0">
                  <c:v>1.1111595438290609</c:v>
                </c:pt>
                <c:pt idx="1">
                  <c:v>0.83100664280175007</c:v>
                </c:pt>
                <c:pt idx="2">
                  <c:v>1.6419304572174209</c:v>
                </c:pt>
                <c:pt idx="3">
                  <c:v>0.47945667950407339</c:v>
                </c:pt>
                <c:pt idx="4">
                  <c:v>1.8632344291853129</c:v>
                </c:pt>
              </c:numCache>
            </c:numRef>
          </c:yVal>
          <c:bubbleSize>
            <c:numRef>
              <c:f>Sheet1!$C$2:$C$6</c:f>
              <c:numCache>
                <c:formatCode>General</c:formatCode>
                <c:ptCount val="5"/>
                <c:pt idx="0">
                  <c:v>2180174</c:v>
                </c:pt>
                <c:pt idx="1">
                  <c:v>610045</c:v>
                </c:pt>
                <c:pt idx="2">
                  <c:v>218970</c:v>
                </c:pt>
                <c:pt idx="3">
                  <c:v>195714</c:v>
                </c:pt>
                <c:pt idx="4">
                  <c:v>74153</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906148142726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81457760173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1912132460333851</c:v>
                </c:pt>
                <c:pt idx="1">
                  <c:v>9.85451990632318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948965887166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97992031179505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75517639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0359878710501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460693235353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5347854990028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0903492389931877</c:v>
                </c:pt>
                <c:pt idx="2">
                  <c:v>12.7204264870931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693506378846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9621375269194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112547233795175</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063247057116428</c:v>
                </c:pt>
                <c:pt idx="1">
                  <c:v>11.537165123005963</c:v>
                </c:pt>
                <c:pt idx="2">
                  <c:v>12.128967559135335</c:v>
                </c:pt>
                <c:pt idx="3">
                  <c:v>12.39414269126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1864641645754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24465711740546</c:v>
                </c:pt>
                <c:pt idx="1">
                  <c:v>12.001885592593688</c:v>
                </c:pt>
                <c:pt idx="2">
                  <c:v>10.851963768709204</c:v>
                </c:pt>
                <c:pt idx="3">
                  <c:v>20.8539511862092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370282040647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0.5728046670962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26923076923077</c:v>
                </c:pt>
                <c:pt idx="2">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13206491326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81271644272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B$2:$B$10</c:f>
              <c:numCache>
                <c:formatCode>General</c:formatCode>
                <c:ptCount val="9"/>
                <c:pt idx="4">
                  <c:v>6.0071597770139098</c:v>
                </c:pt>
                <c:pt idx="5">
                  <c:v>2.95254388065829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C$2:$C$10</c:f>
              <c:numCache>
                <c:formatCode>General</c:formatCode>
                <c:ptCount val="9"/>
                <c:pt idx="0">
                  <c:v>6.0302336062495305</c:v>
                </c:pt>
                <c:pt idx="2">
                  <c:v>5.3926525301864832</c:v>
                </c:pt>
                <c:pt idx="3">
                  <c:v>2.6922710260574818</c:v>
                </c:pt>
                <c:pt idx="6">
                  <c:v>4.9874461613831675</c:v>
                </c:pt>
                <c:pt idx="7">
                  <c:v>2.8028367059974322</c:v>
                </c:pt>
                <c:pt idx="8">
                  <c:v>10.9695418479651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D$2:$D$10</c:f>
              <c:numCache>
                <c:formatCode>General</c:formatCode>
                <c:ptCount val="9"/>
                <c:pt idx="0">
                  <c:v>9.0000343159122878</c:v>
                </c:pt>
                <c:pt idx="1">
                  <c:v>5.21339060784187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E$2:$E$10</c:f>
              <c:numCache>
                <c:formatCode>General</c:formatCode>
                <c:ptCount val="9"/>
                <c:pt idx="0">
                  <c:v>11.273635427394439</c:v>
                </c:pt>
                <c:pt idx="7">
                  <c:v>4.5990764063811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3.0052678383022338</c:v>
                </c:pt>
                <c:pt idx="3">
                  <c:v>2.5014496178996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5.0124115323580174</c:v>
                </c:pt>
                <c:pt idx="2">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5.1185402178045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9.07477060052693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50988340416258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1">
                  <c:v>11.39716698447289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3">
                  <c:v>1.10920400816401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I$2:$I$5</c:f>
              <c:numCache>
                <c:formatCode>General</c:formatCode>
                <c:ptCount val="4"/>
                <c:pt idx="1">
                  <c:v>2.992014086771002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55496569339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719140406488904</c:v>
                </c:pt>
                <c:pt idx="1">
                  <c:v>4.2918294979611922</c:v>
                </c:pt>
                <c:pt idx="2">
                  <c:v>3.99807765710121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6594318893819358</c:v>
                </c:pt>
                <c:pt idx="1">
                  <c:v>5.4829318575302981</c:v>
                </c:pt>
                <c:pt idx="2">
                  <c:v>3.7180204334310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81356480657530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428778290249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381049206994714</c:v>
                </c:pt>
                <c:pt idx="1">
                  <c:v>9.33170395674288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B$2:$B$7</c:f>
              <c:numCache>
                <c:formatCode>General</c:formatCode>
                <c:ptCount val="6"/>
                <c:pt idx="0">
                  <c:v>10.258024623502253</c:v>
                </c:pt>
                <c:pt idx="4">
                  <c:v>5.26162264461449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C$2:$C$7</c:f>
              <c:numCache>
                <c:formatCode>General</c:formatCode>
                <c:ptCount val="6"/>
                <c:pt idx="0">
                  <c:v>12.183917201796071</c:v>
                </c:pt>
                <c:pt idx="2">
                  <c:v>5.506730204321431</c:v>
                </c:pt>
                <c:pt idx="3">
                  <c:v>4.421139580154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D$2:$D$7</c:f>
              <c:numCache>
                <c:formatCode>General</c:formatCode>
                <c:ptCount val="6"/>
                <c:pt idx="1">
                  <c:v>6.0546980298395505</c:v>
                </c:pt>
                <c:pt idx="2">
                  <c:v>6.2460735905375628</c:v>
                </c:pt>
                <c:pt idx="4">
                  <c:v>6.6491625169760074</c:v>
                </c:pt>
                <c:pt idx="5">
                  <c:v>15.1279410713008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E$2:$E$7</c:f>
              <c:numCache>
                <c:formatCode>General</c:formatCode>
                <c:ptCount val="6"/>
                <c:pt idx="0">
                  <c:v>23.205772580243842</c:v>
                </c:pt>
                <c:pt idx="3">
                  <c:v>7.8671616260872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F$2:$F$7</c:f>
              <c:numCache>
                <c:formatCode>General</c:formatCode>
                <c:ptCount val="6"/>
                <c:pt idx="1">
                  <c:v>9.458044585455455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B$2:$B$7</c:f>
              <c:numCache>
                <c:formatCode>General</c:formatCode>
                <c:ptCount val="6"/>
                <c:pt idx="1">
                  <c:v>2.0001920300891283</c:v>
                </c:pt>
                <c:pt idx="2">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C$2:$C$7</c:f>
              <c:numCache>
                <c:formatCode>General</c:formatCode>
                <c:ptCount val="6"/>
                <c:pt idx="0">
                  <c:v>11.224646087232163</c:v>
                </c:pt>
                <c:pt idx="1">
                  <c:v>5.8510789380251689</c:v>
                </c:pt>
                <c:pt idx="2">
                  <c:v>9.9705962428532526</c:v>
                </c:pt>
                <c:pt idx="3">
                  <c:v>9.9210495405549484</c:v>
                </c:pt>
                <c:pt idx="4">
                  <c:v>6.9090013255197436</c:v>
                </c:pt>
                <c:pt idx="5">
                  <c:v>9.28891497896487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D$2:$D$7</c:f>
              <c:numCache>
                <c:formatCode>General</c:formatCode>
                <c:ptCount val="6"/>
                <c:pt idx="1">
                  <c:v>5.4721949258531355</c:v>
                </c:pt>
                <c:pt idx="2">
                  <c:v>9.82854060488821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E$2:$E$7</c:f>
              <c:numCache>
                <c:formatCode>General</c:formatCode>
                <c:ptCount val="6"/>
                <c:pt idx="0">
                  <c:v>19.306019227900794</c:v>
                </c:pt>
                <c:pt idx="1">
                  <c:v>7.0202118015493653</c:v>
                </c:pt>
                <c:pt idx="2">
                  <c:v>14.621836273592441</c:v>
                </c:pt>
                <c:pt idx="3">
                  <c:v>9.9828078170546455</c:v>
                </c:pt>
                <c:pt idx="4">
                  <c:v>9.6361940298507456</c:v>
                </c:pt>
                <c:pt idx="5">
                  <c:v>9.98776648293308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F$2:$F$7</c:f>
              <c:numCache>
                <c:formatCode>General</c:formatCode>
                <c:ptCount val="6"/>
                <c:pt idx="0">
                  <c:v>25.623283652153503</c:v>
                </c:pt>
                <c:pt idx="1">
                  <c:v>8.6394821872124314</c:v>
                </c:pt>
                <c:pt idx="2">
                  <c:v>18.032091547981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G$2:$G$7</c:f>
              <c:numCache>
                <c:formatCode>General</c:formatCode>
                <c:ptCount val="6"/>
                <c:pt idx="3">
                  <c:v>17.026376200515344</c:v>
                </c:pt>
                <c:pt idx="5">
                  <c:v>17.012467191601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533493-C532-4BB8-BA97-0A3711AAD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9E656-3B02-4749-8512-F57013F36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03C3BD-17E1-4613-B01B-D2A6D2949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0AA19C-6213-46B9-8A95-C10CC6AEC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B5801B-E3E2-4C91-B1B4-A0CDD9D0B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F0352E-521B-4D85-BE49-82C6FF474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B4D97A-3F66-47FF-9937-2444D9C81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114B4A-E1D2-426E-83D0-38ECAAD61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570550838210981</c:v>
                </c:pt>
                <c:pt idx="1">
                  <c:v>18.463142799637719</c:v>
                </c:pt>
                <c:pt idx="2">
                  <c:v>12.760372943055611</c:v>
                </c:pt>
                <c:pt idx="3">
                  <c:v>12.192333286281791</c:v>
                </c:pt>
                <c:pt idx="4">
                  <c:v>14.83521492553135</c:v>
                </c:pt>
                <c:pt idx="5">
                  <c:v>13.608733752008179</c:v>
                </c:pt>
              </c:numCache>
            </c:numRef>
          </c:xVal>
          <c:yVal>
            <c:numRef>
              <c:f>Sheet1!$B$2:$B$7</c:f>
              <c:numCache>
                <c:formatCode>General</c:formatCode>
                <c:ptCount val="6"/>
                <c:pt idx="0">
                  <c:v>1.187767484580752</c:v>
                </c:pt>
                <c:pt idx="1">
                  <c:v>1.0896154269315861</c:v>
                </c:pt>
                <c:pt idx="2">
                  <c:v>0.70778728703338556</c:v>
                </c:pt>
                <c:pt idx="3">
                  <c:v>0.77494770534624469</c:v>
                </c:pt>
                <c:pt idx="4">
                  <c:v>1.0759516042692649</c:v>
                </c:pt>
                <c:pt idx="5">
                  <c:v>0.49571874699691543</c:v>
                </c:pt>
              </c:numCache>
            </c:numRef>
          </c:yVal>
          <c:bubbleSize>
            <c:numRef>
              <c:f>Sheet1!$C$2:$C$7</c:f>
              <c:numCache>
                <c:formatCode>General</c:formatCode>
                <c:ptCount val="6"/>
                <c:pt idx="0">
                  <c:v>3623276</c:v>
                </c:pt>
                <c:pt idx="1">
                  <c:v>733873</c:v>
                </c:pt>
                <c:pt idx="2">
                  <c:v>687044</c:v>
                </c:pt>
                <c:pt idx="3">
                  <c:v>604630</c:v>
                </c:pt>
                <c:pt idx="4">
                  <c:v>559792</c:v>
                </c:pt>
                <c:pt idx="5">
                  <c:v>186358</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Intuition</c:v>
                </c:pt>
                <c:pt idx="1">
                  <c:v>Gillette Venus</c:v>
                </c:pt>
              </c:strCache>
            </c:strRef>
          </c:cat>
          <c:val>
            <c:numRef>
              <c:f>Sheet1!$B$2:$B$3</c:f>
              <c:numCache>
                <c:formatCode>General</c:formatCode>
                <c:ptCount val="2"/>
                <c:pt idx="1">
                  <c:v>11.2819672131147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C$2:$C$3</c:f>
              <c:numCache>
                <c:formatCode>General</c:formatCode>
                <c:ptCount val="2"/>
                <c:pt idx="0">
                  <c:v>9.11578244911578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Intuition</c:v>
                </c:pt>
                <c:pt idx="1">
                  <c:v>Gillette Venus</c:v>
                </c:pt>
              </c:strCache>
            </c:strRef>
          </c:cat>
          <c:val>
            <c:numRef>
              <c:f>Sheet1!$D$2:$D$3</c:f>
              <c:numCache>
                <c:formatCode>General</c:formatCode>
                <c:ptCount val="2"/>
                <c:pt idx="1">
                  <c:v>11.4731277533039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E$2:$E$3</c:f>
              <c:numCache>
                <c:formatCode>General</c:formatCode>
                <c:ptCount val="2"/>
                <c:pt idx="1">
                  <c:v>21.65517241379310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Evribeauty</c:v>
                </c:pt>
                <c:pt idx="2">
                  <c:v>Universal Razor</c:v>
                </c:pt>
                <c:pt idx="3">
                  <c:v>Revlon</c:v>
                </c:pt>
                <c:pt idx="4">
                  <c:v>Rem Pl</c:v>
                </c:pt>
                <c:pt idx="5">
                  <c:v>Clio</c:v>
                </c:pt>
              </c:strCache>
            </c:strRef>
          </c:cat>
          <c:val>
            <c:numRef>
              <c:f>Sheet1!$B$2:$B$7</c:f>
              <c:numCache>
                <c:formatCode>General</c:formatCode>
                <c:ptCount val="6"/>
                <c:pt idx="3">
                  <c:v>5.9771505376344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Evribeauty</c:v>
                </c:pt>
                <c:pt idx="2">
                  <c:v>Universal Razor</c:v>
                </c:pt>
                <c:pt idx="3">
                  <c:v>Revlon</c:v>
                </c:pt>
                <c:pt idx="4">
                  <c:v>Rem Pl</c:v>
                </c:pt>
                <c:pt idx="5">
                  <c:v>Clio</c:v>
                </c:pt>
              </c:strCache>
            </c:strRef>
          </c:cat>
          <c:val>
            <c:numRef>
              <c:f>Sheet1!$C$2:$C$7</c:f>
              <c:numCache>
                <c:formatCode>General</c:formatCode>
                <c:ptCount val="6"/>
                <c:pt idx="0">
                  <c:v>5.9594568677841275</c:v>
                </c:pt>
                <c:pt idx="2">
                  <c:v>5.1512060063355865</c:v>
                </c:pt>
                <c:pt idx="4">
                  <c:v>2.6700748648273951</c:v>
                </c:pt>
                <c:pt idx="5">
                  <c:v>4.92434930673802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Evribeauty</c:v>
                </c:pt>
                <c:pt idx="2">
                  <c:v>Universal Razor</c:v>
                </c:pt>
                <c:pt idx="3">
                  <c:v>Revlon</c:v>
                </c:pt>
                <c:pt idx="4">
                  <c:v>Rem Pl</c:v>
                </c:pt>
                <c:pt idx="5">
                  <c:v>Clio</c:v>
                </c:pt>
              </c:strCache>
            </c:strRef>
          </c:cat>
          <c:val>
            <c:numRef>
              <c:f>Sheet1!$D$2:$D$7</c:f>
              <c:numCache>
                <c:formatCode>General</c:formatCode>
                <c:ptCount val="6"/>
                <c:pt idx="0">
                  <c:v>8.3586348122866898</c:v>
                </c:pt>
                <c:pt idx="1">
                  <c:v>4.94910839511120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662157783899</c:v>
                </c:pt>
                <c:pt idx="2">
                  <c:v>2.49086629380758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96018276762402</c:v>
                </c:pt>
                <c:pt idx="3">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5.008652598182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09667122663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48038688876947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4.2113053378876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0648497923612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2.969711676732815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7.9761281763744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724415988402821</c:v>
                </c:pt>
                <c:pt idx="1">
                  <c:v>4.16118693992698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726022235843907</c:v>
                </c:pt>
                <c:pt idx="1">
                  <c:v>5.4629645297066354</c:v>
                </c:pt>
                <c:pt idx="2">
                  <c:v>3.67874190806251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4737976210998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5364527878957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0.653052847614161</c:v>
                </c:pt>
                <c:pt idx="1">
                  <c:v>9.28857167038113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B$2:$B$7</c:f>
              <c:numCache>
                <c:formatCode>General</c:formatCode>
                <c:ptCount val="6"/>
                <c:pt idx="0">
                  <c:v>10.165068903535051</c:v>
                </c:pt>
                <c:pt idx="4">
                  <c:v>5.06363491557820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C$2:$C$7</c:f>
              <c:numCache>
                <c:formatCode>General</c:formatCode>
                <c:ptCount val="6"/>
                <c:pt idx="0">
                  <c:v>12.093893280933449</c:v>
                </c:pt>
                <c:pt idx="1">
                  <c:v>5.459249811281464</c:v>
                </c:pt>
                <c:pt idx="3">
                  <c:v>4.35529059048537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D$2:$D$7</c:f>
              <c:numCache>
                <c:formatCode>General</c:formatCode>
                <c:ptCount val="6"/>
                <c:pt idx="1">
                  <c:v>5.8827368894890837</c:v>
                </c:pt>
                <c:pt idx="2">
                  <c:v>5.9362498004242408</c:v>
                </c:pt>
                <c:pt idx="4">
                  <c:v>6.1963740800574403</c:v>
                </c:pt>
                <c:pt idx="5">
                  <c:v>14.840331164991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E$2:$E$7</c:f>
              <c:numCache>
                <c:formatCode>General</c:formatCode>
                <c:ptCount val="6"/>
                <c:pt idx="0">
                  <c:v>23.306285334220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F$2:$F$7</c:f>
              <c:numCache>
                <c:formatCode>General</c:formatCode>
                <c:ptCount val="6"/>
                <c:pt idx="2">
                  <c:v>8.07290830255339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Billie</c:v>
                </c:pt>
                <c:pt idx="3">
                  <c:v>Hydro Silk</c:v>
                </c:pt>
                <c:pt idx="4">
                  <c:v>Joy</c:v>
                </c:pt>
                <c:pt idx="5">
                  <c:v>Bic Soleil</c:v>
                </c:pt>
              </c:strCache>
            </c:strRef>
          </c:cat>
          <c:val>
            <c:numRef>
              <c:f>Sheet1!$B$2:$B$7</c:f>
              <c:numCache>
                <c:formatCode>General</c:formatCode>
                <c:ptCount val="6"/>
                <c:pt idx="1">
                  <c:v>1.9859013795674869</c:v>
                </c:pt>
                <c:pt idx="3">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C$2:$C$7</c:f>
              <c:numCache>
                <c:formatCode>General</c:formatCode>
                <c:ptCount val="6"/>
                <c:pt idx="0">
                  <c:v>10.258002769406207</c:v>
                </c:pt>
                <c:pt idx="1">
                  <c:v>5.7393327280980477</c:v>
                </c:pt>
                <c:pt idx="2">
                  <c:v>9.9684294909579609</c:v>
                </c:pt>
                <c:pt idx="3">
                  <c:v>9.9544230004858019</c:v>
                </c:pt>
                <c:pt idx="4">
                  <c:v>9.0508229589219944</c:v>
                </c:pt>
                <c:pt idx="5">
                  <c:v>6.7824745281895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D$2:$D$7</c:f>
              <c:numCache>
                <c:formatCode>General</c:formatCode>
                <c:ptCount val="6"/>
                <c:pt idx="1">
                  <c:v>5.3771156545968939</c:v>
                </c:pt>
                <c:pt idx="3">
                  <c:v>9.56577636939791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E$2:$E$7</c:f>
              <c:numCache>
                <c:formatCode>General</c:formatCode>
                <c:ptCount val="6"/>
                <c:pt idx="0">
                  <c:v>18.727925583188743</c:v>
                </c:pt>
                <c:pt idx="1">
                  <c:v>6.9242150031671343</c:v>
                </c:pt>
                <c:pt idx="2">
                  <c:v>9.9699122517164156</c:v>
                </c:pt>
                <c:pt idx="3">
                  <c:v>14.540437412750116</c:v>
                </c:pt>
                <c:pt idx="4">
                  <c:v>9.59897854498416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F$2:$F$7</c:f>
              <c:numCache>
                <c:formatCode>General</c:formatCode>
                <c:ptCount val="6"/>
                <c:pt idx="0">
                  <c:v>25.267076681496992</c:v>
                </c:pt>
                <c:pt idx="1">
                  <c:v>8.95750994380958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Billie</c:v>
                </c:pt>
                <c:pt idx="3">
                  <c:v>Hydro Silk</c:v>
                </c:pt>
                <c:pt idx="4">
                  <c:v>Joy</c:v>
                </c:pt>
                <c:pt idx="5">
                  <c:v>Bic Soleil</c:v>
                </c:pt>
              </c:strCache>
            </c:strRef>
          </c:cat>
          <c:val>
            <c:numRef>
              <c:f>Sheet1!$G$2:$G$7</c:f>
              <c:numCache>
                <c:formatCode>General</c:formatCode>
                <c:ptCount val="6"/>
                <c:pt idx="2">
                  <c:v>16.879865449303221</c:v>
                </c:pt>
                <c:pt idx="4">
                  <c:v>16.89952857984678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Intuition</c:v>
                </c:pt>
                <c:pt idx="1">
                  <c:v>Gillette Venus</c:v>
                </c:pt>
              </c:strCache>
            </c:strRef>
          </c:cat>
          <c:val>
            <c:numRef>
              <c:f>Sheet1!$B$2:$B$3</c:f>
              <c:numCache>
                <c:formatCode>General</c:formatCode>
                <c:ptCount val="2"/>
                <c:pt idx="1">
                  <c:v>9.91724137931034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C$2:$C$3</c:f>
              <c:numCache>
                <c:formatCode>General</c:formatCode>
                <c:ptCount val="2"/>
                <c:pt idx="0">
                  <c:v>7.780054865257382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7297730612872</c:v>
                </c:pt>
                <c:pt idx="4">
                  <c:v>5.9445412943996514</c:v>
                </c:pt>
                <c:pt idx="7">
                  <c:v>2.9391317168902877</c:v>
                </c:pt>
                <c:pt idx="8">
                  <c:v>14.9465704754414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498634995641853</c:v>
                </c:pt>
                <c:pt idx="1">
                  <c:v>5.4104396680493076</c:v>
                </c:pt>
                <c:pt idx="2">
                  <c:v>4.959325730093104</c:v>
                </c:pt>
                <c:pt idx="4">
                  <c:v>2.6721057101561616</c:v>
                </c:pt>
                <c:pt idx="6">
                  <c:v>10.9336290155440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0">
                  <c:v>8.9512200169705505</c:v>
                </c:pt>
                <c:pt idx="5">
                  <c:v>5.16432486910351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11.96054752851711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63760899031064</c:v>
                </c:pt>
                <c:pt idx="3">
                  <c:v>2.48882808775918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859747607625078</c:v>
                </c:pt>
                <c:pt idx="2">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592436512406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8620818081831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892354719446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9660319522881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4310116297945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8864891372332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63541154175203</c:v>
                </c:pt>
                <c:pt idx="1">
                  <c:v>4.2072765824710601</c:v>
                </c:pt>
                <c:pt idx="2">
                  <c:v>3.98007679949934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9316056279174614</c:v>
                </c:pt>
                <c:pt idx="1">
                  <c:v>5.4296896853783272</c:v>
                </c:pt>
                <c:pt idx="2">
                  <c:v>3.66984112084401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2554653582346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8290357868416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952336288176948</c:v>
                </c:pt>
                <c:pt idx="1">
                  <c:v>9.256231980071184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4F51CE-BB72-4B01-92F2-1A12BC76F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AE97F5-108D-413D-AA0D-E3685869E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55D4A8-EFBF-4C5A-929E-6A95C2823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EE3C1A-34F7-413C-8631-7A53A10D8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B878CA-AC1E-4023-88D5-35C3F9C3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2D6174-8047-423D-8C18-5D78F7664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EE3EAA-B5F8-40A9-8BF9-22EF4A474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876472-5779-4A38-B16D-50B4B4272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90673575129534</c:v>
                </c:pt>
                <c:pt idx="1">
                  <c:v>3.618977830506898</c:v>
                </c:pt>
                <c:pt idx="2">
                  <c:v>6.6304224284902444</c:v>
                </c:pt>
                <c:pt idx="3">
                  <c:v>3.8638603969628349</c:v>
                </c:pt>
                <c:pt idx="4">
                  <c:v>16.049342105263161</c:v>
                </c:pt>
                <c:pt idx="5">
                  <c:v>6.293791014639071</c:v>
                </c:pt>
                <c:pt idx="6">
                  <c:v>11.88173178458289</c:v>
                </c:pt>
                <c:pt idx="7">
                  <c:v>10.81650071123755</c:v>
                </c:pt>
              </c:numCache>
            </c:numRef>
          </c:xVal>
          <c:yVal>
            <c:numRef>
              <c:f>Sheet1!$B$2:$B$9</c:f>
              <c:numCache>
                <c:formatCode>General</c:formatCode>
                <c:ptCount val="8"/>
                <c:pt idx="0">
                  <c:v>1.7659345157191979</c:v>
                </c:pt>
                <c:pt idx="1">
                  <c:v>0.83036279155492365</c:v>
                </c:pt>
                <c:pt idx="2">
                  <c:v>1.77767620850332</c:v>
                </c:pt>
                <c:pt idx="3">
                  <c:v>0.28947051836322329</c:v>
                </c:pt>
                <c:pt idx="4">
                  <c:v>0.85468406194861835</c:v>
                </c:pt>
                <c:pt idx="5">
                  <c:v>1.5131730391927549</c:v>
                </c:pt>
                <c:pt idx="6">
                  <c:v>3.3744697155228698</c:v>
                </c:pt>
                <c:pt idx="7">
                  <c:v>3.450716492916873</c:v>
                </c:pt>
              </c:numCache>
            </c:numRef>
          </c:yVal>
          <c:bubbleSize>
            <c:numRef>
              <c:f>Sheet1!$C$2:$C$9</c:f>
              <c:numCache>
                <c:formatCode>General</c:formatCode>
                <c:ptCount val="8"/>
                <c:pt idx="0">
                  <c:v>221697</c:v>
                </c:pt>
                <c:pt idx="1">
                  <c:v>155569</c:v>
                </c:pt>
                <c:pt idx="2">
                  <c:v>140008</c:v>
                </c:pt>
                <c:pt idx="3">
                  <c:v>58012</c:v>
                </c:pt>
                <c:pt idx="4">
                  <c:v>14637</c:v>
                </c:pt>
                <c:pt idx="5">
                  <c:v>12468</c:v>
                </c:pt>
                <c:pt idx="6">
                  <c:v>11252</c:v>
                </c:pt>
                <c:pt idx="7">
                  <c:v>760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Daisy</c:v>
                  </c:pt>
                  <c:pt idx="5">
                    <c:v>Skintimate</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70945928733374</c:v>
                </c:pt>
                <c:pt idx="5">
                  <c:v>5.52035712328016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67642516703145</c:v>
                </c:pt>
                <c:pt idx="2">
                  <c:v>5.4471262723296405</c:v>
                </c:pt>
                <c:pt idx="3">
                  <c:v>4.34777567164887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607221854380716</c:v>
                </c:pt>
                <c:pt idx="2">
                  <c:v>6.2257613449750417</c:v>
                </c:pt>
                <c:pt idx="4">
                  <c:v>14.975877756554958</c:v>
                </c:pt>
                <c:pt idx="5">
                  <c:v>6.5314003772204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034764162061652</c:v>
                </c:pt>
                <c:pt idx="3">
                  <c:v>7.76549164928551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412904023237130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4">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660761628758564</c:v>
                </c:pt>
                <c:pt idx="1">
                  <c:v>9.9166174496644288</c:v>
                </c:pt>
                <c:pt idx="2">
                  <c:v>5.7359101475402055</c:v>
                </c:pt>
                <c:pt idx="3">
                  <c:v>9.2934581361859703</c:v>
                </c:pt>
                <c:pt idx="4">
                  <c:v>9.9473684210526319</c:v>
                </c:pt>
                <c:pt idx="5">
                  <c:v>6.8747657798096169</c:v>
                </c:pt>
                <c:pt idx="6">
                  <c:v>9.99697190118268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946477462339306</c:v>
                </c:pt>
                <c:pt idx="4">
                  <c:v>9.66924135385483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346019125608727</c:v>
                </c:pt>
                <c:pt idx="1">
                  <c:v>9.9700878895583678</c:v>
                </c:pt>
                <c:pt idx="2">
                  <c:v>6.9591774367408625</c:v>
                </c:pt>
                <c:pt idx="3">
                  <c:v>9.7009226847307879</c:v>
                </c:pt>
                <c:pt idx="4">
                  <c:v>14.518910060399502</c:v>
                </c:pt>
                <c:pt idx="5">
                  <c:v>9.5350635890050235</c:v>
                </c:pt>
                <c:pt idx="6">
                  <c:v>9.79975658557100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186698967984249</c:v>
                </c:pt>
                <c:pt idx="2">
                  <c:v>8.5159648616479267</c:v>
                </c:pt>
                <c:pt idx="4">
                  <c:v>17.9109487755826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6491462453559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3519247580490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975222075792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349608475356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B$2:$B$10</c:f>
              <c:numCache>
                <c:formatCode>General</c:formatCode>
                <c:ptCount val="9"/>
                <c:pt idx="7">
                  <c:v>8.33387622149837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C$2:$C$10</c:f>
              <c:numCache>
                <c:formatCode>General</c:formatCode>
                <c:ptCount val="9"/>
                <c:pt idx="2">
                  <c:v>7.1403805496828756</c:v>
                </c:pt>
                <c:pt idx="3">
                  <c:v>15.382133995037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D$2:$D$10</c:f>
              <c:numCache>
                <c:formatCode>General</c:formatCode>
                <c:ptCount val="9"/>
                <c:pt idx="0">
                  <c:v>7.8488865323435846</c:v>
                </c:pt>
                <c:pt idx="1">
                  <c:v>6.152268907563025</c:v>
                </c:pt>
                <c:pt idx="3">
                  <c:v>8.0543293718166389</c:v>
                </c:pt>
                <c:pt idx="4">
                  <c:v>6.5386199794026778</c:v>
                </c:pt>
                <c:pt idx="5">
                  <c:v>13.312087912087913</c:v>
                </c:pt>
                <c:pt idx="6">
                  <c:v>12.924603174603174</c:v>
                </c:pt>
                <c:pt idx="8">
                  <c:v>5.47413793103448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E$2:$E$10</c:f>
              <c:numCache>
                <c:formatCode>General</c:formatCode>
                <c:ptCount val="9"/>
                <c:pt idx="0">
                  <c:v>19.00408719346048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7377347062386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4521934758155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30.32894736842105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7371707846863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5528975046401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4046275395033856</c:v>
                </c:pt>
                <c:pt idx="1">
                  <c:v>9.94149659863945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1259189128981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05066977285963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42286751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79441340782122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553366174055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668184923707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73219746614242</c:v>
                </c:pt>
                <c:pt idx="2">
                  <c:v>12.8313856427378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15476190476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567107750472591</c:v>
                </c:pt>
                <c:pt idx="2">
                  <c:v>17.090909090909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09779951100244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B$2:$B$5</c:f>
              <c:numCache>
                <c:formatCode>General</c:formatCode>
                <c:ptCount val="4"/>
                <c:pt idx="0">
                  <c:v>12.669717138103161</c:v>
                </c:pt>
                <c:pt idx="2">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C$2:$C$5</c:f>
              <c:numCache>
                <c:formatCode>General</c:formatCode>
                <c:ptCount val="4"/>
                <c:pt idx="0">
                  <c:v>16.310434219053793</c:v>
                </c:pt>
                <c:pt idx="1">
                  <c:v>12.053743683968765</c:v>
                </c:pt>
                <c:pt idx="2">
                  <c:v>12.616406250000001</c:v>
                </c:pt>
                <c:pt idx="3">
                  <c:v>11.62807312460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D$2:$D$5</c:f>
              <c:numCache>
                <c:formatCode>General</c:formatCode>
                <c:ptCount val="4"/>
                <c:pt idx="2">
                  <c:v>13.2889552238805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E$2:$E$5</c:f>
              <c:numCache>
                <c:formatCode>General</c:formatCode>
                <c:ptCount val="4"/>
                <c:pt idx="0">
                  <c:v>24.111500087519691</c:v>
                </c:pt>
                <c:pt idx="1">
                  <c:v>10.676574307304787</c:v>
                </c:pt>
                <c:pt idx="2">
                  <c:v>20.992805755395683</c:v>
                </c:pt>
                <c:pt idx="3">
                  <c:v>12.1078726968174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F$2:$F$5</c:f>
              <c:numCache>
                <c:formatCode>General</c:formatCode>
                <c:ptCount val="4"/>
                <c:pt idx="1">
                  <c:v>17.5572033898305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G$2:$G$5</c:f>
              <c:numCache>
                <c:formatCode>General</c:formatCode>
                <c:ptCount val="4"/>
                <c:pt idx="0">
                  <c:v>29.6596055514974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H$2:$H$5</c:f>
              <c:numCache>
                <c:formatCode>General</c:formatCode>
                <c:ptCount val="4"/>
                <c:pt idx="1">
                  <c:v>19.742857142857144</c:v>
                </c:pt>
                <c:pt idx="3">
                  <c:v>18.4068071312803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45945945945945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1.1261425959780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057692307692308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11B3C9-7B95-490E-A684-9CAC2DCF5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A46591-166F-4A9D-AF5F-B77698BDF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25F06E-1E4E-4283-9C43-A6C1A28C6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352931-645F-417D-8452-2E46BA4EC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B879CB-AA9A-4B68-A8A3-D494D6E08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A06FA2-7A9A-4C57-9F7B-5B8F3AD11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2C75C-F80C-45A9-8B1F-1A8B667D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A4A1A1-E087-4C81-B561-46E8B6519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5.128244728244731</c:v>
                </c:pt>
                <c:pt idx="1">
                  <c:v>13.705264939901809</c:v>
                </c:pt>
                <c:pt idx="2">
                  <c:v>11.496463932107501</c:v>
                </c:pt>
                <c:pt idx="3">
                  <c:v>14.858949624866019</c:v>
                </c:pt>
                <c:pt idx="4">
                  <c:v>11.188397008287851</c:v>
                </c:pt>
                <c:pt idx="5">
                  <c:v>7.5001421666192778</c:v>
                </c:pt>
                <c:pt idx="6">
                  <c:v>12.28054298642534</c:v>
                </c:pt>
              </c:numCache>
            </c:numRef>
          </c:xVal>
          <c:yVal>
            <c:numRef>
              <c:f>Sheet1!$B$2:$B$8</c:f>
              <c:numCache>
                <c:formatCode>General</c:formatCode>
                <c:ptCount val="7"/>
                <c:pt idx="0">
                  <c:v>1.218981703820196</c:v>
                </c:pt>
                <c:pt idx="1">
                  <c:v>1.0719090640621129</c:v>
                </c:pt>
                <c:pt idx="2">
                  <c:v>0.77545253583514018</c:v>
                </c:pt>
                <c:pt idx="3">
                  <c:v>1.4933205565045049</c:v>
                </c:pt>
                <c:pt idx="4">
                  <c:v>0.74187779728894021</c:v>
                </c:pt>
                <c:pt idx="5">
                  <c:v>0.50308579956512978</c:v>
                </c:pt>
                <c:pt idx="6">
                  <c:v>0.79373324639350551</c:v>
                </c:pt>
              </c:numCache>
            </c:numRef>
          </c:yVal>
          <c:bubbleSize>
            <c:numRef>
              <c:f>Sheet1!$C$2:$C$8</c:f>
              <c:numCache>
                <c:formatCode>General</c:formatCode>
                <c:ptCount val="7"/>
                <c:pt idx="0">
                  <c:v>254684</c:v>
                </c:pt>
                <c:pt idx="1">
                  <c:v>80957</c:v>
                </c:pt>
                <c:pt idx="2">
                  <c:v>73152</c:v>
                </c:pt>
                <c:pt idx="3">
                  <c:v>69317</c:v>
                </c:pt>
                <c:pt idx="4">
                  <c:v>55349</c:v>
                </c:pt>
                <c:pt idx="5">
                  <c:v>26378</c:v>
                </c:pt>
                <c:pt idx="6">
                  <c:v>1085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B$2:$B$10</c:f>
              <c:numCache>
                <c:formatCode>General</c:formatCode>
                <c:ptCount val="9"/>
                <c:pt idx="7">
                  <c:v>8.71924482338611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C$2:$C$10</c:f>
              <c:numCache>
                <c:formatCode>General</c:formatCode>
                <c:ptCount val="9"/>
                <c:pt idx="2">
                  <c:v>15.40498899486427</c:v>
                </c:pt>
                <c:pt idx="3">
                  <c:v>7.14303426510369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D$2:$D$10</c:f>
              <c:numCache>
                <c:formatCode>General</c:formatCode>
                <c:ptCount val="9"/>
                <c:pt idx="0">
                  <c:v>8.3312495176352552</c:v>
                </c:pt>
                <c:pt idx="1">
                  <c:v>6.0618384865405455</c:v>
                </c:pt>
                <c:pt idx="2">
                  <c:v>8.1088988216172293</c:v>
                </c:pt>
                <c:pt idx="4">
                  <c:v>12.622994652406417</c:v>
                </c:pt>
                <c:pt idx="5">
                  <c:v>6.2772449869224065</c:v>
                </c:pt>
                <c:pt idx="6">
                  <c:v>13.099315068493151</c:v>
                </c:pt>
                <c:pt idx="8">
                  <c:v>5.41901603095632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E$2:$E$10</c:f>
              <c:numCache>
                <c:formatCode>General</c:formatCode>
                <c:ptCount val="9"/>
                <c:pt idx="0">
                  <c:v>19.1767489016559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596110435839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154891652775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89075630252100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0051870847418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983623203499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2436305019477896</c:v>
                </c:pt>
                <c:pt idx="1">
                  <c:v>9.99184556498585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20187216963071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12978634850166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20.0569841412059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83580613254203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253933344611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7023102310231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514506254990682</c:v>
                </c:pt>
                <c:pt idx="2">
                  <c:v>13.5079671656204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292873923257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649129447388344</c:v>
                </c:pt>
                <c:pt idx="2">
                  <c:v>17.13116197183098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2428491306786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072492067366365</c:v>
                </c:pt>
                <c:pt idx="3">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333962264150944</c:v>
                </c:pt>
                <c:pt idx="1">
                  <c:v>11.672558922558922</c:v>
                </c:pt>
                <c:pt idx="2">
                  <c:v>12.188056159778524</c:v>
                </c:pt>
                <c:pt idx="3">
                  <c:v>12.7062870246512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39368756078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316688754259751</c:v>
                </c:pt>
                <c:pt idx="1">
                  <c:v>12.201212121212121</c:v>
                </c:pt>
                <c:pt idx="2">
                  <c:v>11.111595846784748</c:v>
                </c:pt>
                <c:pt idx="3">
                  <c:v>20.649407987156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5383050847457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1.2578890097932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457153642884109</c:v>
                </c:pt>
                <c:pt idx="2">
                  <c:v>19.9206830074359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44444444444444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1.049340498290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03532008830022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B$2:$B$10</c:f>
              <c:numCache>
                <c:formatCode>General</c:formatCode>
                <c:ptCount val="9"/>
                <c:pt idx="7">
                  <c:v>8.08025776215582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C$2:$C$10</c:f>
              <c:numCache>
                <c:formatCode>General</c:formatCode>
                <c:ptCount val="9"/>
                <c:pt idx="2">
                  <c:v>7.072611844063089</c:v>
                </c:pt>
                <c:pt idx="3">
                  <c:v>14.9822896900695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D$2:$D$10</c:f>
              <c:numCache>
                <c:formatCode>General</c:formatCode>
                <c:ptCount val="9"/>
                <c:pt idx="0">
                  <c:v>7.784292356873002</c:v>
                </c:pt>
                <c:pt idx="1">
                  <c:v>5.8024876367450924</c:v>
                </c:pt>
                <c:pt idx="3">
                  <c:v>7.9426765475152568</c:v>
                </c:pt>
                <c:pt idx="4">
                  <c:v>12.409822534048701</c:v>
                </c:pt>
                <c:pt idx="5">
                  <c:v>6.0860191153589689</c:v>
                </c:pt>
                <c:pt idx="6">
                  <c:v>12.891517128874389</c:v>
                </c:pt>
                <c:pt idx="8">
                  <c:v>5.40663667041619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E$2:$E$10</c:f>
              <c:numCache>
                <c:formatCode>General</c:formatCode>
                <c:ptCount val="9"/>
                <c:pt idx="0">
                  <c:v>18.33785985877240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4282099094299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4252839210998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95675675675675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09545115585384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2905056283447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4119328683737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662018321403405</c:v>
                </c:pt>
                <c:pt idx="1">
                  <c:v>9.7896732788798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167652306621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66157032344520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8518593167388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9.59121537309707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4569512284027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3208802755239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7.8989012569907748</c:v>
                </c:pt>
                <c:pt idx="2">
                  <c:v>12.3244019138755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5423432425680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7.866081229418221</c:v>
                </c:pt>
                <c:pt idx="2">
                  <c:v>16.4420803782505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70944992947813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5BBE36-D7CD-4672-8BF4-79DF8BF62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C9D1A4-33FC-4189-9E61-8D3CF81E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3C578A-ECDE-4183-8E09-2EFDB1D95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4E0CE0-D06A-4D02-A687-317E5EC87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9D8503-2AAF-4B46-B9C2-DF8C3B304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1A1DF5-9571-4139-AB33-1F0D9B0B0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6960D1-A398-4CEA-BAB8-073FC9929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CD134F-161F-44DE-B34D-D68597C5E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241132624531414</c:v>
                </c:pt>
                <c:pt idx="1">
                  <c:v>6.3290327804273456</c:v>
                </c:pt>
                <c:pt idx="2">
                  <c:v>4.0514640854322481</c:v>
                </c:pt>
                <c:pt idx="3">
                  <c:v>3.8854608595689619</c:v>
                </c:pt>
                <c:pt idx="4">
                  <c:v>6.849556182220792</c:v>
                </c:pt>
                <c:pt idx="5">
                  <c:v>14.97061152661681</c:v>
                </c:pt>
                <c:pt idx="6">
                  <c:v>11.214759698796261</c:v>
                </c:pt>
                <c:pt idx="7">
                  <c:v>10.096985288608041</c:v>
                </c:pt>
              </c:numCache>
            </c:numRef>
          </c:xVal>
          <c:yVal>
            <c:numRef>
              <c:f>Sheet1!$B$2:$B$9</c:f>
              <c:numCache>
                <c:formatCode>General</c:formatCode>
                <c:ptCount val="8"/>
                <c:pt idx="0">
                  <c:v>1.714671229931092</c:v>
                </c:pt>
                <c:pt idx="1">
                  <c:v>1.644632362900778</c:v>
                </c:pt>
                <c:pt idx="2">
                  <c:v>0.897560779709909</c:v>
                </c:pt>
                <c:pt idx="3">
                  <c:v>0.26739379300702792</c:v>
                </c:pt>
                <c:pt idx="4">
                  <c:v>1.367443657763481</c:v>
                </c:pt>
                <c:pt idx="5">
                  <c:v>0.78841585223832489</c:v>
                </c:pt>
                <c:pt idx="6">
                  <c:v>3.1699163499651708</c:v>
                </c:pt>
                <c:pt idx="7">
                  <c:v>3.1905269137962362</c:v>
                </c:pt>
              </c:numCache>
            </c:numRef>
          </c:yVal>
          <c:bubbleSize>
            <c:numRef>
              <c:f>Sheet1!$C$2:$C$9</c:f>
              <c:numCache>
                <c:formatCode>General</c:formatCode>
                <c:ptCount val="8"/>
                <c:pt idx="0">
                  <c:v>12113372</c:v>
                </c:pt>
                <c:pt idx="1">
                  <c:v>8129554</c:v>
                </c:pt>
                <c:pt idx="2">
                  <c:v>6340282</c:v>
                </c:pt>
                <c:pt idx="3">
                  <c:v>3068974</c:v>
                </c:pt>
                <c:pt idx="4">
                  <c:v>1085730</c:v>
                </c:pt>
                <c:pt idx="5">
                  <c:v>850705</c:v>
                </c:pt>
                <c:pt idx="6">
                  <c:v>627006</c:v>
                </c:pt>
                <c:pt idx="7">
                  <c:v>40425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B$2:$B$5</c:f>
              <c:numCache>
                <c:formatCode>General</c:formatCode>
                <c:ptCount val="4"/>
                <c:pt idx="0">
                  <c:v>11.818310858765082</c:v>
                </c:pt>
                <c:pt idx="2">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C$2:$C$5</c:f>
              <c:numCache>
                <c:formatCode>General</c:formatCode>
                <c:ptCount val="4"/>
                <c:pt idx="0">
                  <c:v>15.310127435776414</c:v>
                </c:pt>
                <c:pt idx="1">
                  <c:v>11.341700442151806</c:v>
                </c:pt>
                <c:pt idx="2">
                  <c:v>12.183736489963973</c:v>
                </c:pt>
                <c:pt idx="3">
                  <c:v>11.8970964147604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D$2:$D$5</c:f>
              <c:numCache>
                <c:formatCode>General</c:formatCode>
                <c:ptCount val="4"/>
                <c:pt idx="2">
                  <c:v>12.8799209916905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E$2:$E$5</c:f>
              <c:numCache>
                <c:formatCode>General</c:formatCode>
                <c:ptCount val="4"/>
                <c:pt idx="0">
                  <c:v>23.410836157667486</c:v>
                </c:pt>
                <c:pt idx="1">
                  <c:v>11.875994642716458</c:v>
                </c:pt>
                <c:pt idx="2">
                  <c:v>20.53611263485098</c:v>
                </c:pt>
                <c:pt idx="3">
                  <c:v>10.445038569424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F$2:$F$5</c:f>
              <c:numCache>
                <c:formatCode>General</c:formatCode>
                <c:ptCount val="4"/>
                <c:pt idx="3">
                  <c:v>17.1891008174386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G$2:$G$5</c:f>
              <c:numCache>
                <c:formatCode>General</c:formatCode>
                <c:ptCount val="4"/>
                <c:pt idx="0">
                  <c:v>29.29590720070037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H$2:$H$5</c:f>
              <c:numCache>
                <c:formatCode>General</c:formatCode>
                <c:ptCount val="4"/>
                <c:pt idx="1">
                  <c:v>17.952225841476658</c:v>
                </c:pt>
                <c:pt idx="3">
                  <c:v>19.2846244131455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30.9776007964161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8.905940594059405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B$2:$B$10</c:f>
              <c:numCache>
                <c:formatCode>General</c:formatCode>
                <c:ptCount val="9"/>
                <c:pt idx="6">
                  <c:v>8.9143489254108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C$2:$C$10</c:f>
              <c:numCache>
                <c:formatCode>General</c:formatCode>
                <c:ptCount val="9"/>
                <c:pt idx="2">
                  <c:v>15.351670666420528</c:v>
                </c:pt>
                <c:pt idx="3">
                  <c:v>7.30618029226635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D$2:$D$10</c:f>
              <c:numCache>
                <c:formatCode>General</c:formatCode>
                <c:ptCount val="9"/>
                <c:pt idx="0">
                  <c:v>8.5420260408027868</c:v>
                </c:pt>
                <c:pt idx="1">
                  <c:v>6.1454811000816889</c:v>
                </c:pt>
                <c:pt idx="2">
                  <c:v>8.1133779446167242</c:v>
                </c:pt>
                <c:pt idx="4">
                  <c:v>12.625674800259123</c:v>
                </c:pt>
                <c:pt idx="5">
                  <c:v>6.3246774727092294</c:v>
                </c:pt>
                <c:pt idx="7">
                  <c:v>13.264893322249931</c:v>
                </c:pt>
                <c:pt idx="8">
                  <c:v>5.37880460495190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E$2:$E$10</c:f>
              <c:numCache>
                <c:formatCode>General</c:formatCode>
                <c:ptCount val="9"/>
                <c:pt idx="0">
                  <c:v>19.54748158471033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7.5508232093437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584228515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9182389937106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4804257274573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2.2064798515628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9244041801368326</c:v>
                </c:pt>
                <c:pt idx="1">
                  <c:v>9.93829136267357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2.3421250274672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323605853930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20.1086964831804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2.36445716802466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5838205757643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7.06229008422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378078208142556</c:v>
                </c:pt>
                <c:pt idx="2">
                  <c:v>13.3113875404530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53373196412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589442312227963</c:v>
                </c:pt>
                <c:pt idx="2">
                  <c:v>17.1893808098314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12602058927937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Billie</c:v>
                </c:pt>
                <c:pt idx="3">
                  <c:v>Hydro Silk</c:v>
                </c:pt>
              </c:strCache>
            </c:strRef>
          </c:cat>
          <c:val>
            <c:numRef>
              <c:f>Sheet1!$B$2:$B$5</c:f>
              <c:numCache>
                <c:formatCode>General</c:formatCode>
                <c:ptCount val="4"/>
                <c:pt idx="0">
                  <c:v>14.313885570157971</c:v>
                </c:pt>
                <c:pt idx="3">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C$2:$C$5</c:f>
              <c:numCache>
                <c:formatCode>General</c:formatCode>
                <c:ptCount val="4"/>
                <c:pt idx="0">
                  <c:v>16.710625913639003</c:v>
                </c:pt>
                <c:pt idx="1">
                  <c:v>12.26519881695695</c:v>
                </c:pt>
                <c:pt idx="2">
                  <c:v>11.705731384095079</c:v>
                </c:pt>
                <c:pt idx="3">
                  <c:v>12.5627206920903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D$2:$D$5</c:f>
              <c:numCache>
                <c:formatCode>General</c:formatCode>
                <c:ptCount val="4"/>
                <c:pt idx="3">
                  <c:v>13.5267808083694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E$2:$E$5</c:f>
              <c:numCache>
                <c:formatCode>General</c:formatCode>
                <c:ptCount val="4"/>
                <c:pt idx="0">
                  <c:v>24.650688794006285</c:v>
                </c:pt>
                <c:pt idx="1">
                  <c:v>11.149165514616017</c:v>
                </c:pt>
                <c:pt idx="2">
                  <c:v>12.075637182917262</c:v>
                </c:pt>
                <c:pt idx="3">
                  <c:v>21.2622396823385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F$2:$F$5</c:f>
              <c:numCache>
                <c:formatCode>General</c:formatCode>
                <c:ptCount val="4"/>
                <c:pt idx="0">
                  <c:v>31.8093905942839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Billie</c:v>
                </c:pt>
                <c:pt idx="3">
                  <c:v>Hydro Silk</c:v>
                </c:pt>
              </c:strCache>
            </c:strRef>
          </c:cat>
          <c:val>
            <c:numRef>
              <c:f>Sheet1!$G$2:$G$5</c:f>
              <c:numCache>
                <c:formatCode>General</c:formatCode>
                <c:ptCount val="4"/>
                <c:pt idx="1">
                  <c:v>20.12724065327491</c:v>
                </c:pt>
                <c:pt idx="2">
                  <c:v>18.4996814272061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32115384615384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98167059439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89866821077012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B$2:$B$10</c:f>
              <c:numCache>
                <c:formatCode>General</c:formatCode>
                <c:ptCount val="9"/>
                <c:pt idx="6">
                  <c:v>8.4184500311655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C$2:$C$10</c:f>
              <c:numCache>
                <c:formatCode>General</c:formatCode>
                <c:ptCount val="9"/>
                <c:pt idx="1">
                  <c:v>7.021989602360545</c:v>
                </c:pt>
                <c:pt idx="3">
                  <c:v>14.918472372697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D$2:$D$10</c:f>
              <c:numCache>
                <c:formatCode>General</c:formatCode>
                <c:ptCount val="9"/>
                <c:pt idx="0">
                  <c:v>7.7042770926266071</c:v>
                </c:pt>
                <c:pt idx="2">
                  <c:v>5.8292796838512668</c:v>
                </c:pt>
                <c:pt idx="3">
                  <c:v>7.8276738845144358</c:v>
                </c:pt>
                <c:pt idx="4">
                  <c:v>12.274830606511321</c:v>
                </c:pt>
                <c:pt idx="5">
                  <c:v>6.1267929634641405</c:v>
                </c:pt>
                <c:pt idx="7">
                  <c:v>12.891952983725135</c:v>
                </c:pt>
                <c:pt idx="8">
                  <c:v>5.31117634724260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E$2:$E$10</c:f>
              <c:numCache>
                <c:formatCode>General</c:formatCode>
                <c:ptCount val="9"/>
                <c:pt idx="0">
                  <c:v>18.0403283007396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6475959840573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208216424473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0706260032102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350708215297450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32F502-F047-4575-83E8-52CF01112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24C411-37DE-4460-8B23-DFDEB42C1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F02A54-F223-4AC1-B041-582FFAA84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7F78E6-2CAE-4D67-A9A0-73D7115C0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22FB71-A1EC-4496-9AFE-81ED61EBE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FB8B46-F219-40F6-A192-256408334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DB4B3-8E75-47E3-B2D4-DE2846DA6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D73551-A48C-433E-BBF5-9B9FAD0E3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635974112508171</c:v>
                </c:pt>
                <c:pt idx="1">
                  <c:v>12.88936752376609</c:v>
                </c:pt>
                <c:pt idx="2">
                  <c:v>10.80020063929609</c:v>
                </c:pt>
                <c:pt idx="3">
                  <c:v>10.58469030769276</c:v>
                </c:pt>
                <c:pt idx="4">
                  <c:v>12.784682281005709</c:v>
                </c:pt>
                <c:pt idx="5">
                  <c:v>7.1000158091004621</c:v>
                </c:pt>
                <c:pt idx="6">
                  <c:v>10.972220095254141</c:v>
                </c:pt>
                <c:pt idx="7">
                  <c:v>8.5734034941955741</c:v>
                </c:pt>
              </c:numCache>
            </c:numRef>
          </c:xVal>
          <c:yVal>
            <c:numRef>
              <c:f>Sheet1!$B$2:$B$9</c:f>
              <c:numCache>
                <c:formatCode>General</c:formatCode>
                <c:ptCount val="8"/>
                <c:pt idx="0">
                  <c:v>1.321561804696767</c:v>
                </c:pt>
                <c:pt idx="1">
                  <c:v>1.1382749124879259</c:v>
                </c:pt>
                <c:pt idx="2">
                  <c:v>0.83656763744547513</c:v>
                </c:pt>
                <c:pt idx="3">
                  <c:v>0.74340507895374675</c:v>
                </c:pt>
                <c:pt idx="4">
                  <c:v>1.300420675246047</c:v>
                </c:pt>
                <c:pt idx="5">
                  <c:v>0.50935896483778986</c:v>
                </c:pt>
                <c:pt idx="6">
                  <c:v>0.84698597646050533</c:v>
                </c:pt>
                <c:pt idx="7">
                  <c:v>0.30808661272885601</c:v>
                </c:pt>
              </c:numCache>
            </c:numRef>
          </c:yVal>
          <c:bubbleSize>
            <c:numRef>
              <c:f>Sheet1!$C$2:$C$9</c:f>
              <c:numCache>
                <c:formatCode>General</c:formatCode>
                <c:ptCount val="8"/>
                <c:pt idx="0">
                  <c:v>14233719</c:v>
                </c:pt>
                <c:pt idx="1">
                  <c:v>5511558</c:v>
                </c:pt>
                <c:pt idx="2">
                  <c:v>5027623</c:v>
                </c:pt>
                <c:pt idx="3">
                  <c:v>3573148</c:v>
                </c:pt>
                <c:pt idx="4">
                  <c:v>3416489</c:v>
                </c:pt>
                <c:pt idx="5">
                  <c:v>1526972</c:v>
                </c:pt>
                <c:pt idx="6">
                  <c:v>716475</c:v>
                </c:pt>
                <c:pt idx="7">
                  <c:v>37147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699629148896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3986578461378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7564206438005581</c:v>
                </c:pt>
                <c:pt idx="1">
                  <c:v>9.7292673443315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0746138413958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777045336112558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5015543638765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8.7240829346092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4897144208286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5.974032775438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7.9957215091404121</c:v>
                </c:pt>
                <c:pt idx="2">
                  <c:v>11.8646202980837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46288332086761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7.827192247876539</c:v>
                </c:pt>
                <c:pt idx="2">
                  <c:v>16.2457590256633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67235583139384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B$2:$B$5</c:f>
              <c:numCache>
                <c:formatCode>General</c:formatCode>
                <c:ptCount val="4"/>
                <c:pt idx="0">
                  <c:v>12.339125374127036</c:v>
                </c:pt>
                <c:pt idx="2">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C$2:$C$5</c:f>
              <c:numCache>
                <c:formatCode>General</c:formatCode>
                <c:ptCount val="4"/>
                <c:pt idx="0">
                  <c:v>15.160116517835824</c:v>
                </c:pt>
                <c:pt idx="1">
                  <c:v>11.320764561629302</c:v>
                </c:pt>
                <c:pt idx="2">
                  <c:v>12.440484106929112</c:v>
                </c:pt>
                <c:pt idx="3">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D$2:$D$5</c:f>
              <c:numCache>
                <c:formatCode>General</c:formatCode>
                <c:ptCount val="4"/>
                <c:pt idx="2">
                  <c:v>12.9908843125378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E$2:$E$5</c:f>
              <c:numCache>
                <c:formatCode>General</c:formatCode>
                <c:ptCount val="4"/>
                <c:pt idx="0">
                  <c:v>23.466151928082418</c:v>
                </c:pt>
                <c:pt idx="1">
                  <c:v>11.843617223666687</c:v>
                </c:pt>
                <c:pt idx="2">
                  <c:v>20.204262235867798</c:v>
                </c:pt>
                <c:pt idx="3">
                  <c:v>10.4500549651887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F$2:$F$5</c:f>
              <c:numCache>
                <c:formatCode>General</c:formatCode>
                <c:ptCount val="4"/>
                <c:pt idx="3">
                  <c:v>16.8750281976088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G$2:$G$5</c:f>
              <c:numCache>
                <c:formatCode>General</c:formatCode>
                <c:ptCount val="4"/>
                <c:pt idx="0">
                  <c:v>28.5458927693064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H$2:$H$5</c:f>
              <c:numCache>
                <c:formatCode>General</c:formatCode>
                <c:ptCount val="4"/>
                <c:pt idx="1">
                  <c:v>17.854892966360858</c:v>
                </c:pt>
                <c:pt idx="3">
                  <c:v>19.3127058177826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30.9800108049702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9.07285828662930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B$2:$B$10</c:f>
              <c:numCache>
                <c:formatCode>General</c:formatCode>
                <c:ptCount val="9"/>
                <c:pt idx="7">
                  <c:v>8.6742489270386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C$2:$C$10</c:f>
              <c:numCache>
                <c:formatCode>General</c:formatCode>
                <c:ptCount val="9"/>
                <c:pt idx="1">
                  <c:v>7.0626189143816456</c:v>
                </c:pt>
                <c:pt idx="3">
                  <c:v>15.1172140430351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D$2:$D$10</c:f>
              <c:numCache>
                <c:formatCode>General</c:formatCode>
                <c:ptCount val="9"/>
                <c:pt idx="0">
                  <c:v>7.7726470588235292</c:v>
                </c:pt>
                <c:pt idx="2">
                  <c:v>5.8288191787809236</c:v>
                </c:pt>
                <c:pt idx="3">
                  <c:v>8.0386408058938503</c:v>
                </c:pt>
                <c:pt idx="4">
                  <c:v>6.0895394624208183</c:v>
                </c:pt>
                <c:pt idx="5">
                  <c:v>12.47752808988764</c:v>
                </c:pt>
                <c:pt idx="6">
                  <c:v>12.897114861186717</c:v>
                </c:pt>
                <c:pt idx="8">
                  <c:v>5.47306273062730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E$2:$E$10</c:f>
              <c:numCache>
                <c:formatCode>General</c:formatCode>
                <c:ptCount val="9"/>
                <c:pt idx="0">
                  <c:v>18.7123046445080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5673307729236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3.3762826804675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6745283018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23663578047042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3880894519837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4404769993884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4686292158627623</c:v>
                </c:pt>
                <c:pt idx="1">
                  <c:v>9.855762979474318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9.4042181622783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50721300859805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8634619268834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7.70390920554854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kintimate</c:v>
                </c:pt>
                <c:pt idx="1">
                  <c:v>Intuition</c:v>
                </c:pt>
                <c:pt idx="2">
                  <c:v>Quattro</c:v>
                </c:pt>
              </c:strCache>
            </c:strRef>
          </c:cat>
          <c:val>
            <c:numRef>
              <c:f>Sheet1!$B$2:$B$4</c:f>
              <c:numCache>
                <c:formatCode>General</c:formatCode>
                <c:ptCount val="3"/>
                <c:pt idx="1">
                  <c:v>13.3902875551843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C$2:$C$4</c:f>
              <c:numCache>
                <c:formatCode>General</c:formatCode>
                <c:ptCount val="3"/>
                <c:pt idx="1">
                  <c:v>16.047116695312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D$2:$D$4</c:f>
              <c:numCache>
                <c:formatCode>General</c:formatCode>
                <c:ptCount val="3"/>
                <c:pt idx="0">
                  <c:v>7.8408337429536585</c:v>
                </c:pt>
                <c:pt idx="2">
                  <c:v>12.1402565163425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E$2:$E$4</c:f>
              <c:numCache>
                <c:formatCode>General</c:formatCode>
                <c:ptCount val="3"/>
                <c:pt idx="2">
                  <c:v>12.621905651564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F$2:$F$4</c:f>
              <c:numCache>
                <c:formatCode>General</c:formatCode>
                <c:ptCount val="3"/>
                <c:pt idx="1">
                  <c:v>28.5206929740134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kintimate</c:v>
                </c:pt>
                <c:pt idx="1">
                  <c:v>Intuition</c:v>
                </c:pt>
                <c:pt idx="2">
                  <c:v>Quattro</c:v>
                </c:pt>
              </c:strCache>
            </c:strRef>
          </c:cat>
          <c:val>
            <c:numRef>
              <c:f>Sheet1!$G$2:$G$4</c:f>
              <c:numCache>
                <c:formatCode>General</c:formatCode>
                <c:ptCount val="3"/>
                <c:pt idx="2">
                  <c:v>14.8017127799736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B$2:$B$5</c:f>
              <c:numCache>
                <c:formatCode>General</c:formatCode>
                <c:ptCount val="4"/>
                <c:pt idx="0">
                  <c:v>12.27205131943432</c:v>
                </c:pt>
                <c:pt idx="1">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C$2:$C$5</c:f>
              <c:numCache>
                <c:formatCode>General</c:formatCode>
                <c:ptCount val="4"/>
                <c:pt idx="0">
                  <c:v>15.562329771632097</c:v>
                </c:pt>
                <c:pt idx="1">
                  <c:v>11.992353723404255</c:v>
                </c:pt>
                <c:pt idx="2">
                  <c:v>11.493926785188922</c:v>
                </c:pt>
                <c:pt idx="3">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D$2:$D$5</c:f>
              <c:numCache>
                <c:formatCode>General</c:formatCode>
                <c:ptCount val="4"/>
                <c:pt idx="1">
                  <c:v>12.7829847371396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E$2:$E$5</c:f>
              <c:numCache>
                <c:formatCode>General</c:formatCode>
                <c:ptCount val="4"/>
                <c:pt idx="0">
                  <c:v>23.892542571931884</c:v>
                </c:pt>
                <c:pt idx="1">
                  <c:v>20.626406283167057</c:v>
                </c:pt>
                <c:pt idx="2">
                  <c:v>12.012946058091286</c:v>
                </c:pt>
                <c:pt idx="3">
                  <c:v>10.6150807899461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F$2:$F$5</c:f>
              <c:numCache>
                <c:formatCode>General</c:formatCode>
                <c:ptCount val="4"/>
                <c:pt idx="3">
                  <c:v>17.2926315789473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G$2:$G$5</c:f>
              <c:numCache>
                <c:formatCode>General</c:formatCode>
                <c:ptCount val="4"/>
                <c:pt idx="0">
                  <c:v>29.9497058823529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H$2:$H$5</c:f>
              <c:numCache>
                <c:formatCode>General</c:formatCode>
                <c:ptCount val="4"/>
                <c:pt idx="2">
                  <c:v>18.213899613899613</c:v>
                </c:pt>
                <c:pt idx="3">
                  <c:v>19.56336968785257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39393939393939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8682842287694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06493506493506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150816-FADE-4612-9538-99448B2C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1A79DB-FAD4-410D-877F-74D9E518B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40D172-C4E0-4439-88E6-9EEE18BE9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5963BE-F282-472D-8B3F-19BCA442C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9290E8-1FBA-407F-850B-62537D633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2364FD-C3F3-4016-A7C3-0EE7B095D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C4CCA5-33BF-4414-A68C-0F38DD75C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EC6A94-E49F-464B-9F76-4A8AC4746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606616886505661</c:v>
                </c:pt>
                <c:pt idx="1">
                  <c:v>18.25561265829699</c:v>
                </c:pt>
                <c:pt idx="2">
                  <c:v>12.83231961816821</c:v>
                </c:pt>
                <c:pt idx="3">
                  <c:v>12.247336243401779</c:v>
                </c:pt>
                <c:pt idx="4">
                  <c:v>12.219766664599311</c:v>
                </c:pt>
                <c:pt idx="5">
                  <c:v>8.1335825684234013</c:v>
                </c:pt>
                <c:pt idx="6">
                  <c:v>13.68039158414442</c:v>
                </c:pt>
                <c:pt idx="7">
                  <c:v>14.52859602040053</c:v>
                </c:pt>
                <c:pt idx="8">
                  <c:v>5.9151261465574674</c:v>
                </c:pt>
              </c:numCache>
            </c:numRef>
          </c:xVal>
          <c:yVal>
            <c:numRef>
              <c:f>Sheet1!$B$2:$B$10</c:f>
              <c:numCache>
                <c:formatCode>General</c:formatCode>
                <c:ptCount val="9"/>
                <c:pt idx="0">
                  <c:v>1.1244364924332411</c:v>
                </c:pt>
                <c:pt idx="1">
                  <c:v>1.496958602059838</c:v>
                </c:pt>
                <c:pt idx="2">
                  <c:v>1.147707317100624</c:v>
                </c:pt>
                <c:pt idx="3">
                  <c:v>0.98202414391182036</c:v>
                </c:pt>
                <c:pt idx="4">
                  <c:v>1.069887398171016</c:v>
                </c:pt>
                <c:pt idx="5">
                  <c:v>0.55767813367580377</c:v>
                </c:pt>
                <c:pt idx="6">
                  <c:v>0.68396122074873644</c:v>
                </c:pt>
                <c:pt idx="7">
                  <c:v>0.33011659429084561</c:v>
                </c:pt>
                <c:pt idx="8">
                  <c:v>0.54218568615155582</c:v>
                </c:pt>
              </c:numCache>
            </c:numRef>
          </c:yVal>
          <c:bubbleSize>
            <c:numRef>
              <c:f>Sheet1!$C$2:$C$10</c:f>
              <c:numCache>
                <c:formatCode>General</c:formatCode>
                <c:ptCount val="9"/>
                <c:pt idx="0">
                  <c:v>44923375</c:v>
                </c:pt>
                <c:pt idx="1">
                  <c:v>8020859</c:v>
                </c:pt>
                <c:pt idx="2">
                  <c:v>7732358</c:v>
                </c:pt>
                <c:pt idx="3">
                  <c:v>5631117</c:v>
                </c:pt>
                <c:pt idx="4">
                  <c:v>5319741</c:v>
                </c:pt>
                <c:pt idx="5">
                  <c:v>4372980</c:v>
                </c:pt>
                <c:pt idx="6">
                  <c:v>1451941</c:v>
                </c:pt>
                <c:pt idx="7">
                  <c:v>1358816</c:v>
                </c:pt>
                <c:pt idx="8">
                  <c:v>8789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3F02B0-1C48-423F-832B-AF4D06BCB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6F687E-7B3C-48B3-9836-71567E258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6EFB5B-94E5-4543-9735-506C3F07E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0CCFFF-FBBD-474F-8C75-ACAD608F6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956DF1-1656-4875-A55D-0F1189615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7D0D3A-F0CB-494D-8849-CB99A84C4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4BD4BF-3B0F-4D25-907E-593A39568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28189-219B-46FE-B472-2F19A6BF7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30837051427111</c:v>
                </c:pt>
                <c:pt idx="1">
                  <c:v>6.3310306989399114</c:v>
                </c:pt>
                <c:pt idx="2">
                  <c:v>4.2494414084929053</c:v>
                </c:pt>
                <c:pt idx="3">
                  <c:v>3.8659999918510479</c:v>
                </c:pt>
                <c:pt idx="4">
                  <c:v>6.8508968174940836</c:v>
                </c:pt>
                <c:pt idx="5">
                  <c:v>15.0126563493746</c:v>
                </c:pt>
                <c:pt idx="6">
                  <c:v>11.186310652341829</c:v>
                </c:pt>
                <c:pt idx="7">
                  <c:v>10.082015955724341</c:v>
                </c:pt>
              </c:numCache>
            </c:numRef>
          </c:xVal>
          <c:yVal>
            <c:numRef>
              <c:f>Sheet1!$B$2:$B$9</c:f>
              <c:numCache>
                <c:formatCode>General</c:formatCode>
                <c:ptCount val="8"/>
                <c:pt idx="0">
                  <c:v>1.710925173271505</c:v>
                </c:pt>
                <c:pt idx="1">
                  <c:v>1.619207343025006</c:v>
                </c:pt>
                <c:pt idx="2">
                  <c:v>0.94017605720649211</c:v>
                </c:pt>
                <c:pt idx="3">
                  <c:v>0.2653925977154466</c:v>
                </c:pt>
                <c:pt idx="4">
                  <c:v>1.3377669799447911</c:v>
                </c:pt>
                <c:pt idx="5">
                  <c:v>0.78060270551717792</c:v>
                </c:pt>
                <c:pt idx="6">
                  <c:v>3.112716359990197</c:v>
                </c:pt>
                <c:pt idx="7">
                  <c:v>3.145384364248732</c:v>
                </c:pt>
              </c:numCache>
            </c:numRef>
          </c:yVal>
          <c:bubbleSize>
            <c:numRef>
              <c:f>Sheet1!$C$2:$C$9</c:f>
              <c:numCache>
                <c:formatCode>General</c:formatCode>
                <c:ptCount val="8"/>
                <c:pt idx="0">
                  <c:v>10647352</c:v>
                </c:pt>
                <c:pt idx="1">
                  <c:v>7892820</c:v>
                </c:pt>
                <c:pt idx="2">
                  <c:v>6608948</c:v>
                </c:pt>
                <c:pt idx="3">
                  <c:v>2846501</c:v>
                </c:pt>
                <c:pt idx="4">
                  <c:v>1059546</c:v>
                </c:pt>
                <c:pt idx="5">
                  <c:v>708147</c:v>
                </c:pt>
                <c:pt idx="6">
                  <c:v>637217</c:v>
                </c:pt>
                <c:pt idx="7">
                  <c:v>34247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B$2:$B$9</c:f>
              <c:numCache>
                <c:formatCode>General</c:formatCode>
                <c:ptCount val="8"/>
                <c:pt idx="5">
                  <c:v>8.9093604404913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C$2:$C$9</c:f>
              <c:numCache>
                <c:formatCode>General</c:formatCode>
                <c:ptCount val="8"/>
                <c:pt idx="2">
                  <c:v>15.280907985407378</c:v>
                </c:pt>
                <c:pt idx="3">
                  <c:v>7.1043180846515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D$2:$D$9</c:f>
              <c:numCache>
                <c:formatCode>General</c:formatCode>
                <c:ptCount val="8"/>
                <c:pt idx="0">
                  <c:v>8.0324840764331213</c:v>
                </c:pt>
                <c:pt idx="1">
                  <c:v>5.9895739947537932</c:v>
                </c:pt>
                <c:pt idx="2">
                  <c:v>8.0493841111990054</c:v>
                </c:pt>
                <c:pt idx="4">
                  <c:v>6.2562534134352816</c:v>
                </c:pt>
                <c:pt idx="6">
                  <c:v>12.611510791366907</c:v>
                </c:pt>
                <c:pt idx="7">
                  <c:v>5.44563380281690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E$2:$E$9</c:f>
              <c:numCache>
                <c:formatCode>General</c:formatCode>
                <c:ptCount val="8"/>
                <c:pt idx="0">
                  <c:v>19.650129320479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03074356530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6699280575539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3464140730717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043280326262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2.0719215922625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6844661776691119</c:v>
                </c:pt>
                <c:pt idx="1">
                  <c:v>9.88554275200929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0573983699556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14739419912757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6782323291525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53609587063240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1123573524616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3459326593080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823750671681896</c:v>
                </c:pt>
                <c:pt idx="2">
                  <c:v>12.6827620715536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7806483462234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9.146454767726162</c:v>
                </c:pt>
                <c:pt idx="2">
                  <c:v>16.9251774986346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09614309670206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B$2:$B$5</c:f>
              <c:numCache>
                <c:formatCode>General</c:formatCode>
                <c:ptCount val="4"/>
                <c:pt idx="0">
                  <c:v>13.972761474793078</c:v>
                </c:pt>
                <c:pt idx="2">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C$2:$C$5</c:f>
              <c:numCache>
                <c:formatCode>General</c:formatCode>
                <c:ptCount val="4"/>
                <c:pt idx="0">
                  <c:v>16.269042157715731</c:v>
                </c:pt>
                <c:pt idx="1">
                  <c:v>12.170642748148424</c:v>
                </c:pt>
                <c:pt idx="2">
                  <c:v>12.296181339352897</c:v>
                </c:pt>
                <c:pt idx="3">
                  <c:v>11.5929753376022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D$2:$D$5</c:f>
              <c:numCache>
                <c:formatCode>General</c:formatCode>
                <c:ptCount val="4"/>
                <c:pt idx="2">
                  <c:v>13.2163303130148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E$2:$E$5</c:f>
              <c:numCache>
                <c:formatCode>General</c:formatCode>
                <c:ptCount val="4"/>
                <c:pt idx="0">
                  <c:v>24.859900545617791</c:v>
                </c:pt>
                <c:pt idx="1">
                  <c:v>10.946946684822457</c:v>
                </c:pt>
                <c:pt idx="2">
                  <c:v>21.199113204932797</c:v>
                </c:pt>
                <c:pt idx="3">
                  <c:v>12.0381939708088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F$2:$F$5</c:f>
              <c:numCache>
                <c:formatCode>General</c:formatCode>
                <c:ptCount val="4"/>
                <c:pt idx="1">
                  <c:v>17.411305317962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G$2:$G$5</c:f>
              <c:numCache>
                <c:formatCode>General</c:formatCode>
                <c:ptCount val="4"/>
                <c:pt idx="0">
                  <c:v>29.9548710601719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H$2:$H$5</c:f>
              <c:numCache>
                <c:formatCode>General</c:formatCode>
                <c:ptCount val="4"/>
                <c:pt idx="1">
                  <c:v>20.07533718689788</c:v>
                </c:pt>
                <c:pt idx="3">
                  <c:v>18.44930535028081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180048661800486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8805863425098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655786350148368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B$2:$B$9</c:f>
              <c:numCache>
                <c:formatCode>General</c:formatCode>
                <c:ptCount val="8"/>
                <c:pt idx="3">
                  <c:v>6.0549019607843135</c:v>
                </c:pt>
                <c:pt idx="5">
                  <c:v>6.6629213483146064</c:v>
                </c:pt>
                <c:pt idx="7">
                  <c:v>2.98073959938366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C$2:$C$9</c:f>
              <c:numCache>
                <c:formatCode>General</c:formatCode>
                <c:ptCount val="8"/>
                <c:pt idx="0">
                  <c:v>6.2718165627782723</c:v>
                </c:pt>
                <c:pt idx="1">
                  <c:v>5.9584745762711862</c:v>
                </c:pt>
                <c:pt idx="3">
                  <c:v>2.9709357277882797</c:v>
                </c:pt>
                <c:pt idx="4">
                  <c:v>5.4563922942206657</c:v>
                </c:pt>
                <c:pt idx="6">
                  <c:v>11.5918079096045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D$2:$D$9</c:f>
              <c:numCache>
                <c:formatCode>General</c:formatCode>
                <c:ptCount val="8"/>
                <c:pt idx="0">
                  <c:v>10.554266211604096</c:v>
                </c:pt>
                <c:pt idx="2">
                  <c:v>5.2464687229749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E$2:$E$9</c:f>
              <c:numCache>
                <c:formatCode>General</c:formatCode>
                <c:ptCount val="8"/>
                <c:pt idx="0">
                  <c:v>11.79886685552407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3.1378725682669999</c:v>
                </c:pt>
                <c:pt idx="2">
                  <c:v>2.67967747846802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5.2386436340371079</c:v>
                </c:pt>
                <c:pt idx="3">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6.1455197132616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9.4912023460410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59970457902511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2.0450121654501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14309962136049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3.19172113289760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770091027308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7.0535117056856187</c:v>
                </c:pt>
                <c:pt idx="1">
                  <c:v>4.536412078152753</c:v>
                </c:pt>
                <c:pt idx="2">
                  <c:v>4.25456521739130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3326816552623004</c:v>
                </c:pt>
                <c:pt idx="1">
                  <c:v>5.7249895353704483</c:v>
                </c:pt>
                <c:pt idx="2">
                  <c:v>3.9054516723729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7.4530651340996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6725122349102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114285714285714</c:v>
                </c:pt>
                <c:pt idx="1">
                  <c:v>9.69559851912793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B$2:$B$7</c:f>
              <c:numCache>
                <c:formatCode>General</c:formatCode>
                <c:ptCount val="6"/>
                <c:pt idx="0">
                  <c:v>11.081810269799826</c:v>
                </c:pt>
                <c:pt idx="5">
                  <c:v>6.00457665903890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C$2:$C$7</c:f>
              <c:numCache>
                <c:formatCode>General</c:formatCode>
                <c:ptCount val="6"/>
                <c:pt idx="0">
                  <c:v>12.505759385665529</c:v>
                </c:pt>
                <c:pt idx="1">
                  <c:v>4.6431867117809906</c:v>
                </c:pt>
                <c:pt idx="2">
                  <c:v>5.76569506726457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D$2:$D$7</c:f>
              <c:numCache>
                <c:formatCode>General</c:formatCode>
                <c:ptCount val="6"/>
                <c:pt idx="2">
                  <c:v>6.3274418604651164</c:v>
                </c:pt>
                <c:pt idx="3">
                  <c:v>6.2964646464646465</c:v>
                </c:pt>
                <c:pt idx="4">
                  <c:v>15.364210526315789</c:v>
                </c:pt>
                <c:pt idx="5">
                  <c:v>7.01856763925729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E$2:$E$7</c:f>
              <c:numCache>
                <c:formatCode>General</c:formatCode>
                <c:ptCount val="6"/>
                <c:pt idx="0">
                  <c:v>25.39291217257319</c:v>
                </c:pt>
                <c:pt idx="1">
                  <c:v>8.282051282051282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3C01AE-773F-4C93-8D39-D749BFD51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CF074A-164F-4C43-9F21-AFADF89D4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D61161-081E-4BD0-B9DC-A57E070A2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087DB7-DC0D-4224-A54E-8E5973855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B8CFD6-93E6-4F26-B266-B0242DB93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C5D715-D5A0-4332-92AC-4B3D48888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F8A77-2B9B-4058-8245-9533265E1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AEECA9-56A3-432E-807C-A20B440C3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733539678495321</c:v>
                </c:pt>
                <c:pt idx="1">
                  <c:v>10.800455477809489</c:v>
                </c:pt>
                <c:pt idx="2">
                  <c:v>12.90327659928151</c:v>
                </c:pt>
                <c:pt idx="3">
                  <c:v>10.542758677887971</c:v>
                </c:pt>
                <c:pt idx="4">
                  <c:v>12.79586943852143</c:v>
                </c:pt>
                <c:pt idx="5">
                  <c:v>7.1254704318280737</c:v>
                </c:pt>
                <c:pt idx="6">
                  <c:v>10.912191384472701</c:v>
                </c:pt>
                <c:pt idx="7">
                  <c:v>8.7140354057156664</c:v>
                </c:pt>
              </c:numCache>
            </c:numRef>
          </c:xVal>
          <c:yVal>
            <c:numRef>
              <c:f>Sheet1!$B$2:$B$9</c:f>
              <c:numCache>
                <c:formatCode>General</c:formatCode>
                <c:ptCount val="8"/>
                <c:pt idx="0">
                  <c:v>1.3583837647106849</c:v>
                </c:pt>
                <c:pt idx="1">
                  <c:v>0.86044580546580729</c:v>
                </c:pt>
                <c:pt idx="2">
                  <c:v>1.174579668176515</c:v>
                </c:pt>
                <c:pt idx="3">
                  <c:v>0.75855245661405668</c:v>
                </c:pt>
                <c:pt idx="4">
                  <c:v>1.2926086495545519</c:v>
                </c:pt>
                <c:pt idx="5">
                  <c:v>0.52274067671314806</c:v>
                </c:pt>
                <c:pt idx="6">
                  <c:v>0.87368717700779719</c:v>
                </c:pt>
                <c:pt idx="7">
                  <c:v>0.31538726209865298</c:v>
                </c:pt>
              </c:numCache>
            </c:numRef>
          </c:yVal>
          <c:bubbleSize>
            <c:numRef>
              <c:f>Sheet1!$C$2:$C$9</c:f>
              <c:numCache>
                <c:formatCode>General</c:formatCode>
                <c:ptCount val="8"/>
                <c:pt idx="0">
                  <c:v>15265833</c:v>
                </c:pt>
                <c:pt idx="1">
                  <c:v>6350171</c:v>
                </c:pt>
                <c:pt idx="2">
                  <c:v>5588822</c:v>
                </c:pt>
                <c:pt idx="3">
                  <c:v>4830439</c:v>
                </c:pt>
                <c:pt idx="4">
                  <c:v>3666618</c:v>
                </c:pt>
                <c:pt idx="5">
                  <c:v>1948239</c:v>
                </c:pt>
                <c:pt idx="6">
                  <c:v>1082413</c:v>
                </c:pt>
                <c:pt idx="7">
                  <c:v>432678</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B$2:$B$7</c:f>
              <c:numCache>
                <c:formatCode>General</c:formatCode>
                <c:ptCount val="6"/>
                <c:pt idx="1">
                  <c:v>1.9943759722388417</c:v>
                </c:pt>
                <c:pt idx="2">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C$2:$C$7</c:f>
              <c:numCache>
                <c:formatCode>General</c:formatCode>
                <c:ptCount val="6"/>
                <c:pt idx="0">
                  <c:v>12.039003759398497</c:v>
                </c:pt>
                <c:pt idx="1">
                  <c:v>6.1606217616580308</c:v>
                </c:pt>
                <c:pt idx="2">
                  <c:v>10.794602698650674</c:v>
                </c:pt>
                <c:pt idx="3">
                  <c:v>10.357878787878787</c:v>
                </c:pt>
                <c:pt idx="4">
                  <c:v>7.1982731554160129</c:v>
                </c:pt>
                <c:pt idx="5">
                  <c:v>9.7611940298507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D$2:$D$7</c:f>
              <c:numCache>
                <c:formatCode>General</c:formatCode>
                <c:ptCount val="6"/>
                <c:pt idx="1">
                  <c:v>5.4995190766271245</c:v>
                </c:pt>
                <c:pt idx="2">
                  <c:v>11.2179176755447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E$2:$E$7</c:f>
              <c:numCache>
                <c:formatCode>General</c:formatCode>
                <c:ptCount val="6"/>
                <c:pt idx="0">
                  <c:v>20.514145810663766</c:v>
                </c:pt>
                <c:pt idx="1">
                  <c:v>7.5079051383399209</c:v>
                </c:pt>
                <c:pt idx="2">
                  <c:v>15.855285961871751</c:v>
                </c:pt>
                <c:pt idx="3">
                  <c:v>10.291488349976225</c:v>
                </c:pt>
                <c:pt idx="4">
                  <c:v>11.214382632293081</c:v>
                </c:pt>
                <c:pt idx="5">
                  <c:v>10.530579181855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F$2:$F$7</c:f>
              <c:numCache>
                <c:formatCode>General</c:formatCode>
                <c:ptCount val="6"/>
                <c:pt idx="0">
                  <c:v>23.406060606060606</c:v>
                </c:pt>
                <c:pt idx="1">
                  <c:v>9.0499099562644716</c:v>
                </c:pt>
                <c:pt idx="2">
                  <c:v>19.0633663366336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G$2:$G$7</c:f>
              <c:numCache>
                <c:formatCode>General</c:formatCode>
                <c:ptCount val="6"/>
                <c:pt idx="3">
                  <c:v>17.080760095011875</c:v>
                </c:pt>
                <c:pt idx="5">
                  <c:v>18.1923890063424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6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24.5937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B$2:$B$10</c:f>
              <c:numCache>
                <c:formatCode>General</c:formatCode>
                <c:ptCount val="9"/>
                <c:pt idx="4">
                  <c:v>5.9797090706939686</c:v>
                </c:pt>
                <c:pt idx="5">
                  <c:v>5.957965806381357</c:v>
                </c:pt>
                <c:pt idx="6">
                  <c:v>2.9618935865068923</c:v>
                </c:pt>
                <c:pt idx="8">
                  <c:v>14.8983461073013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C$2:$C$10</c:f>
              <c:numCache>
                <c:formatCode>General</c:formatCode>
                <c:ptCount val="9"/>
                <c:pt idx="0">
                  <c:v>5.9396120274142641</c:v>
                </c:pt>
                <c:pt idx="1">
                  <c:v>5.3971027175696582</c:v>
                </c:pt>
                <c:pt idx="3">
                  <c:v>4.9571810785324235</c:v>
                </c:pt>
                <c:pt idx="5">
                  <c:v>2.6698069203369705</c:v>
                </c:pt>
                <c:pt idx="7">
                  <c:v>10.9424983158502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D$2:$D$10</c:f>
              <c:numCache>
                <c:formatCode>General</c:formatCode>
                <c:ptCount val="9"/>
                <c:pt idx="0">
                  <c:v>8.9137119467894603</c:v>
                </c:pt>
                <c:pt idx="2">
                  <c:v>5.17945397647566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E$2:$E$10</c:f>
              <c:numCache>
                <c:formatCode>General</c:formatCode>
                <c:ptCount val="9"/>
                <c:pt idx="0">
                  <c:v>11.6782334384858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00458588915297</c:v>
                </c:pt>
                <c:pt idx="3">
                  <c:v>2.4800074764284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785546833374772</c:v>
                </c:pt>
                <c:pt idx="2">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201378834884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6439449187078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7558053835238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078290941087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0078126497211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82124318893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45054618390953</c:v>
                </c:pt>
                <c:pt idx="1">
                  <c:v>4.2216014184939983</c:v>
                </c:pt>
                <c:pt idx="2">
                  <c:v>3.97930615042856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9303580576652388</c:v>
                </c:pt>
                <c:pt idx="1">
                  <c:v>5.4208391129098059</c:v>
                </c:pt>
                <c:pt idx="2">
                  <c:v>3.6600511677389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1509992982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6175799516090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662819589903165</c:v>
                </c:pt>
                <c:pt idx="1">
                  <c:v>9.242142097499057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86373632093272</c:v>
                </c:pt>
                <c:pt idx="5">
                  <c:v>5.66782892331918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7952458076393</c:v>
                </c:pt>
                <c:pt idx="2">
                  <c:v>5.4383312310049696</c:v>
                </c:pt>
                <c:pt idx="3">
                  <c:v>4.33742143076275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55020718290088</c:v>
                </c:pt>
                <c:pt idx="2">
                  <c:v>6.2565557932509837</c:v>
                </c:pt>
                <c:pt idx="4">
                  <c:v>14.964399609502115</c:v>
                </c:pt>
                <c:pt idx="5">
                  <c:v>6.53955299206921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25534691815426</c:v>
                </c:pt>
                <c:pt idx="3">
                  <c:v>7.75569263075004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568881808526779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Pbg Pl</c:v>
                </c:pt>
                <c:pt idx="3">
                  <c:v>Hydro Silk</c:v>
                </c:pt>
                <c:pt idx="4">
                  <c:v>Joy</c:v>
                </c:pt>
                <c:pt idx="5">
                  <c:v>Bic Soleil</c:v>
                </c:pt>
              </c:strCache>
            </c:strRef>
          </c:cat>
          <c:val>
            <c:numRef>
              <c:f>Sheet1!$B$2:$B$7</c:f>
              <c:numCache>
                <c:formatCode>General</c:formatCode>
                <c:ptCount val="6"/>
                <c:pt idx="2">
                  <c:v>1.9690270280604929</c:v>
                </c:pt>
                <c:pt idx="3">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C$2:$C$7</c:f>
              <c:numCache>
                <c:formatCode>General</c:formatCode>
                <c:ptCount val="6"/>
                <c:pt idx="0">
                  <c:v>11.516561245564336</c:v>
                </c:pt>
                <c:pt idx="1">
                  <c:v>9.9100402911670091</c:v>
                </c:pt>
                <c:pt idx="2">
                  <c:v>5.7172022684310022</c:v>
                </c:pt>
                <c:pt idx="3">
                  <c:v>9.9515898097387936</c:v>
                </c:pt>
                <c:pt idx="4">
                  <c:v>9.3202082864581666</c:v>
                </c:pt>
                <c:pt idx="5">
                  <c:v>6.87604472388704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D$2:$D$7</c:f>
              <c:numCache>
                <c:formatCode>General</c:formatCode>
                <c:ptCount val="6"/>
                <c:pt idx="2">
                  <c:v>5.3739205919837696</c:v>
                </c:pt>
                <c:pt idx="3">
                  <c:v>9.78014304028068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E$2:$E$7</c:f>
              <c:numCache>
                <c:formatCode>General</c:formatCode>
                <c:ptCount val="6"/>
                <c:pt idx="0">
                  <c:v>19.301061203006356</c:v>
                </c:pt>
                <c:pt idx="1">
                  <c:v>9.9701361952812864</c:v>
                </c:pt>
                <c:pt idx="2">
                  <c:v>6.952146313870907</c:v>
                </c:pt>
                <c:pt idx="3">
                  <c:v>14.541070071439428</c:v>
                </c:pt>
                <c:pt idx="4">
                  <c:v>9.7601927478617032</c:v>
                </c:pt>
                <c:pt idx="5">
                  <c:v>9.8502054681238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F$2:$F$7</c:f>
              <c:numCache>
                <c:formatCode>General</c:formatCode>
                <c:ptCount val="6"/>
                <c:pt idx="0">
                  <c:v>26.190781865810777</c:v>
                </c:pt>
                <c:pt idx="2">
                  <c:v>8.4955799226486466</c:v>
                </c:pt>
                <c:pt idx="3">
                  <c:v>17.9546136926997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Pbg Pl</c:v>
                </c:pt>
                <c:pt idx="3">
                  <c:v>Hydro Silk</c:v>
                </c:pt>
                <c:pt idx="4">
                  <c:v>Joy</c:v>
                </c:pt>
                <c:pt idx="5">
                  <c:v>Bic Soleil</c:v>
                </c:pt>
              </c:strCache>
            </c:strRef>
          </c:cat>
          <c:val>
            <c:numRef>
              <c:f>Sheet1!$G$2:$G$7</c:f>
              <c:numCache>
                <c:formatCode>General</c:formatCode>
                <c:ptCount val="6"/>
                <c:pt idx="1">
                  <c:v>16.885680152548993</c:v>
                </c:pt>
                <c:pt idx="4">
                  <c:v>16.92314948957245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1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10.1916245658351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9.32953191920727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3.0412601515234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4055555555555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B$2:$B$10</c:f>
              <c:numCache>
                <c:formatCode>General</c:formatCode>
                <c:ptCount val="9"/>
                <c:pt idx="2">
                  <c:v>5.9794096643656269</c:v>
                </c:pt>
                <c:pt idx="5">
                  <c:v>5.9425638785761086</c:v>
                </c:pt>
                <c:pt idx="7">
                  <c:v>2.9261159259348672</c:v>
                </c:pt>
                <c:pt idx="8">
                  <c:v>14.9171323267150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C$2:$C$10</c:f>
              <c:numCache>
                <c:formatCode>General</c:formatCode>
                <c:ptCount val="9"/>
                <c:pt idx="0">
                  <c:v>5.9502350501420027</c:v>
                </c:pt>
                <c:pt idx="1">
                  <c:v>5.3768166427466664</c:v>
                </c:pt>
                <c:pt idx="3">
                  <c:v>4.9513873048603569</c:v>
                </c:pt>
                <c:pt idx="5">
                  <c:v>2.6701299039896753</c:v>
                </c:pt>
                <c:pt idx="6">
                  <c:v>10.9367608662263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D$2:$D$10</c:f>
              <c:numCache>
                <c:formatCode>General</c:formatCode>
                <c:ptCount val="9"/>
                <c:pt idx="0">
                  <c:v>8.9342936391394545</c:v>
                </c:pt>
                <c:pt idx="4">
                  <c:v>5.15172118832728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E$2:$E$10</c:f>
              <c:numCache>
                <c:formatCode>General</c:formatCode>
                <c:ptCount val="9"/>
                <c:pt idx="0">
                  <c:v>12.14443092727764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742D2F-07DE-469A-8327-A1B1608AC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90FD87-527E-4A12-A7DB-082EB4817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85D35B-FFF2-4882-94BB-58509DA37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1FD46E-1A02-4252-B2E2-9F4F7A61F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33E0E-5A24-4347-A88B-84C32D74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AA5805-7885-4B67-BC89-5E55FB4E7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4CBA5A-D83B-4693-A805-4E1E1606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286854-A1AF-48AF-BB69-58955671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1371845698823231</c:v>
                </c:pt>
                <c:pt idx="1">
                  <c:v>3.6922107356784379</c:v>
                </c:pt>
                <c:pt idx="2">
                  <c:v>5.9579218023018532</c:v>
                </c:pt>
                <c:pt idx="3">
                  <c:v>4.7786335179930637</c:v>
                </c:pt>
                <c:pt idx="4">
                  <c:v>6.5322038456366824</c:v>
                </c:pt>
              </c:numCache>
            </c:numRef>
          </c:xVal>
          <c:yVal>
            <c:numRef>
              <c:f>Sheet1!$B$2:$B$6</c:f>
              <c:numCache>
                <c:formatCode>General</c:formatCode>
                <c:ptCount val="5"/>
                <c:pt idx="0">
                  <c:v>1.3152648457763989</c:v>
                </c:pt>
                <c:pt idx="1">
                  <c:v>0.88762431749127524</c:v>
                </c:pt>
                <c:pt idx="2">
                  <c:v>1.5937891266269151</c:v>
                </c:pt>
                <c:pt idx="3">
                  <c:v>0.32898279453715168</c:v>
                </c:pt>
                <c:pt idx="4">
                  <c:v>0.9516160066416306</c:v>
                </c:pt>
              </c:numCache>
            </c:numRef>
          </c:yVal>
          <c:bubbleSize>
            <c:numRef>
              <c:f>Sheet1!$C$2:$C$6</c:f>
              <c:numCache>
                <c:formatCode>General</c:formatCode>
                <c:ptCount val="5"/>
                <c:pt idx="0">
                  <c:v>1170312</c:v>
                </c:pt>
                <c:pt idx="1">
                  <c:v>319295</c:v>
                </c:pt>
                <c:pt idx="2">
                  <c:v>145981</c:v>
                </c:pt>
                <c:pt idx="3">
                  <c:v>106100</c:v>
                </c:pt>
                <c:pt idx="4">
                  <c:v>97160</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9872994487665</c:v>
                </c:pt>
                <c:pt idx="3">
                  <c:v>2.4894237782640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920407742504667</c:v>
                </c:pt>
                <c:pt idx="2">
                  <c:v>15.0128474209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265052762259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9267138276757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919525855037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181275418680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80970645734376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9527522999431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503818352595257</c:v>
                </c:pt>
                <c:pt idx="1">
                  <c:v>4.2059599945570829</c:v>
                </c:pt>
                <c:pt idx="2">
                  <c:v>3.98870194177274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1104863875543352</c:v>
                </c:pt>
                <c:pt idx="1">
                  <c:v>5.4289782233346271</c:v>
                </c:pt>
                <c:pt idx="2">
                  <c:v>3.67015596936161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8281897250118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0778999384190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2.102521052493508</c:v>
                </c:pt>
                <c:pt idx="1">
                  <c:v>9.279488558368594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56124018820675</c:v>
                </c:pt>
                <c:pt idx="5">
                  <c:v>5.43695646320777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249593330258731</c:v>
                </c:pt>
                <c:pt idx="2">
                  <c:v>5.4474330347594728</c:v>
                </c:pt>
                <c:pt idx="3">
                  <c:v>4.34514012455515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6110627522355</c:v>
                </c:pt>
                <c:pt idx="2">
                  <c:v>6.1975875634737703</c:v>
                </c:pt>
                <c:pt idx="4">
                  <c:v>14.963529184915847</c:v>
                </c:pt>
                <c:pt idx="5">
                  <c:v>6.50232319575187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166583541147133</c:v>
                </c:pt>
                <c:pt idx="3">
                  <c:v>7.76460774997360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365711213742882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4">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689551144575013</c:v>
                </c:pt>
                <c:pt idx="1">
                  <c:v>9.9260042039572536</c:v>
                </c:pt>
                <c:pt idx="2">
                  <c:v>5.719060494152818</c:v>
                </c:pt>
                <c:pt idx="3">
                  <c:v>9.3038644612120169</c:v>
                </c:pt>
                <c:pt idx="4">
                  <c:v>9.9553755452236015</c:v>
                </c:pt>
                <c:pt idx="5">
                  <c:v>6.8635549675394607</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828998610423611</c:v>
                </c:pt>
                <c:pt idx="4">
                  <c:v>9.64697344548903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357349180479918</c:v>
                </c:pt>
                <c:pt idx="1">
                  <c:v>9.9704521729987903</c:v>
                </c:pt>
                <c:pt idx="2">
                  <c:v>6.9521209412587686</c:v>
                </c:pt>
                <c:pt idx="3">
                  <c:v>9.6714850343491037</c:v>
                </c:pt>
                <c:pt idx="4">
                  <c:v>14.504962015835652</c:v>
                </c:pt>
                <c:pt idx="5">
                  <c:v>9.5031060352654464</c:v>
                </c:pt>
                <c:pt idx="6">
                  <c:v>9.73132475167241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12631463867935</c:v>
                </c:pt>
                <c:pt idx="2">
                  <c:v>8.5242536435657179</c:v>
                </c:pt>
                <c:pt idx="4">
                  <c:v>17.8362250642339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5534961547124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9088324674051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2.034524395152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63681027966742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B$2:$B$7</c:f>
              <c:numCache>
                <c:formatCode>General</c:formatCode>
                <c:ptCount val="6"/>
                <c:pt idx="1">
                  <c:v>15.115326251896814</c:v>
                </c:pt>
                <c:pt idx="2">
                  <c:v>2.98177946048272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C$2:$C$7</c:f>
              <c:numCache>
                <c:formatCode>General</c:formatCode>
                <c:ptCount val="6"/>
                <c:pt idx="0">
                  <c:v>2.8043629504800482</c:v>
                </c:pt>
                <c:pt idx="3">
                  <c:v>6.1286516853932582</c:v>
                </c:pt>
                <c:pt idx="4">
                  <c:v>3.14281139929554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D$2:$D$7</c:f>
              <c:numCache>
                <c:formatCode>General</c:formatCode>
                <c:ptCount val="6"/>
                <c:pt idx="1">
                  <c:v>15.413333333333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E$2:$E$7</c:f>
              <c:numCache>
                <c:formatCode>General</c:formatCode>
                <c:ptCount val="6"/>
                <c:pt idx="0">
                  <c:v>4.5981161337408203</c:v>
                </c:pt>
                <c:pt idx="5">
                  <c:v>15.6215469613259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B$2:$B$6</c:f>
              <c:numCache>
                <c:formatCode>General</c:formatCode>
                <c:ptCount val="5"/>
                <c:pt idx="1">
                  <c:v>4.1807361407594286</c:v>
                </c:pt>
                <c:pt idx="2">
                  <c:v>4.4838416021847971</c:v>
                </c:pt>
                <c:pt idx="3">
                  <c:v>1.97069597069597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C$2:$C$6</c:f>
              <c:numCache>
                <c:formatCode>General</c:formatCode>
                <c:ptCount val="5"/>
                <c:pt idx="4">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D$2:$D$6</c:f>
              <c:numCache>
                <c:formatCode>General</c:formatCode>
                <c:ptCount val="5"/>
                <c:pt idx="1">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E$2:$E$6</c:f>
              <c:numCache>
                <c:formatCode>General</c:formatCode>
                <c:ptCount val="5"/>
                <c:pt idx="0">
                  <c:v>15.731707317073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F$2:$F$6</c:f>
              <c:numCache>
                <c:formatCode>General</c:formatCode>
                <c:ptCount val="5"/>
                <c:pt idx="0">
                  <c:v>1.82073265783320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G$2:$G$6</c:f>
              <c:numCache>
                <c:formatCode>General</c:formatCode>
                <c:ptCount val="5"/>
                <c:pt idx="0">
                  <c:v>10.72611464968152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H$2:$H$6</c:f>
              <c:numCache>
                <c:formatCode>General</c:formatCode>
                <c:ptCount val="5"/>
                <c:pt idx="2">
                  <c:v>2.8350360302836815</c:v>
                </c:pt>
                <c:pt idx="3">
                  <c:v>1.54426305970149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I$2:$I$6</c:f>
              <c:numCache>
                <c:formatCode>General</c:formatCode>
                <c:ptCount val="5"/>
                <c:pt idx="0">
                  <c:v>3.161636219221604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oleil</c:v>
                </c:pt>
                <c:pt idx="2">
                  <c:v>Pbg: All Others</c:v>
                </c:pt>
                <c:pt idx="3">
                  <c:v>Pbg Pl</c:v>
                </c:pt>
              </c:strCache>
            </c:strRef>
          </c:cat>
          <c:val>
            <c:numRef>
              <c:f>Sheet1!$B$2:$B$5</c:f>
              <c:numCache>
                <c:formatCode>General</c:formatCode>
                <c:ptCount val="4"/>
                <c:pt idx="0">
                  <c:v>7.26065108149442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C$2:$C$5</c:f>
              <c:numCache>
                <c:formatCode>General</c:formatCode>
                <c:ptCount val="4"/>
                <c:pt idx="0">
                  <c:v>6.7004407340904324</c:v>
                </c:pt>
                <c:pt idx="1">
                  <c:v>6.0062540716612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D$2:$D$5</c:f>
              <c:numCache>
                <c:formatCode>General</c:formatCode>
                <c:ptCount val="4"/>
                <c:pt idx="0">
                  <c:v>6.3994924359777201</c:v>
                </c:pt>
                <c:pt idx="1">
                  <c:v>5.2367724867724865</c:v>
                </c:pt>
                <c:pt idx="2">
                  <c:v>3.468798422313002</c:v>
                </c:pt>
                <c:pt idx="3">
                  <c:v>3.67083678541839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E$2:$E$5</c:f>
              <c:numCache>
                <c:formatCode>General</c:formatCode>
                <c:ptCount val="4"/>
                <c:pt idx="0">
                  <c:v>6.13195627094435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F$2:$F$5</c:f>
              <c:numCache>
                <c:formatCode>General</c:formatCode>
                <c:ptCount val="4"/>
                <c:pt idx="0">
                  <c:v>11.88777130757014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Intuition</c:v>
                </c:pt>
                <c:pt idx="2">
                  <c:v>Pbg Pl</c:v>
                </c:pt>
                <c:pt idx="3">
                  <c:v>Bic Soleil</c:v>
                </c:pt>
                <c:pt idx="4">
                  <c:v>Gillette Venus</c:v>
                </c:pt>
              </c:strCache>
            </c:strRef>
          </c:cat>
          <c:val>
            <c:numRef>
              <c:f>Sheet1!$B$2:$B$6</c:f>
              <c:numCache>
                <c:formatCode>General</c:formatCode>
                <c:ptCount val="5"/>
                <c:pt idx="0">
                  <c:v>8.6133333333333333</c:v>
                </c:pt>
                <c:pt idx="1">
                  <c:v>12.6931216931216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C$2:$C$6</c:f>
              <c:numCache>
                <c:formatCode>General</c:formatCode>
                <c:ptCount val="5"/>
                <c:pt idx="1">
                  <c:v>15.107449856733524</c:v>
                </c:pt>
                <c:pt idx="2">
                  <c:v>4.6333037102866026</c:v>
                </c:pt>
                <c:pt idx="3">
                  <c:v>5.2601580135440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D$2:$D$6</c:f>
              <c:numCache>
                <c:formatCode>General</c:formatCode>
                <c:ptCount val="5"/>
                <c:pt idx="0">
                  <c:v>6.4534965650871943</c:v>
                </c:pt>
                <c:pt idx="4">
                  <c:v>15.255178907721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74B497-A4F6-4CAE-B3B9-BAF50EB8A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4A7F53-054C-40B9-B657-E075C35A2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81DD30-633D-4DAF-B7C5-ABF272ED1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E6FD3F-9E07-4EE6-AD62-F11B7DAFD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384F03-6D16-4DA7-9F8E-E0630D1D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E54909-1A2F-4D55-9C5C-9C498A21C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793051-979D-4409-9588-C15062D21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AA5416-C0BB-4D78-A3ED-B3FF9F202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96612609154592</c:v>
                </c:pt>
                <c:pt idx="1">
                  <c:v>13.09678041256989</c:v>
                </c:pt>
                <c:pt idx="2">
                  <c:v>9.0597826086956523</c:v>
                </c:pt>
                <c:pt idx="3">
                  <c:v>13.027050113895219</c:v>
                </c:pt>
              </c:numCache>
            </c:numRef>
          </c:xVal>
          <c:yVal>
            <c:numRef>
              <c:f>Sheet1!$B$2:$B$5</c:f>
              <c:numCache>
                <c:formatCode>General</c:formatCode>
                <c:ptCount val="4"/>
                <c:pt idx="0">
                  <c:v>1.123250051785079</c:v>
                </c:pt>
                <c:pt idx="1">
                  <c:v>1.127766935022565</c:v>
                </c:pt>
                <c:pt idx="2">
                  <c:v>0.5063507772075182</c:v>
                </c:pt>
                <c:pt idx="3">
                  <c:v>1.0926910201020339</c:v>
                </c:pt>
              </c:numCache>
            </c:numRef>
          </c:yVal>
          <c:bubbleSize>
            <c:numRef>
              <c:f>Sheet1!$C$2:$C$5</c:f>
              <c:numCache>
                <c:formatCode>General</c:formatCode>
                <c:ptCount val="4"/>
                <c:pt idx="0">
                  <c:v>467886</c:v>
                </c:pt>
                <c:pt idx="1">
                  <c:v>67933</c:v>
                </c:pt>
                <c:pt idx="2">
                  <c:v>61679</c:v>
                </c:pt>
                <c:pt idx="3">
                  <c:v>457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Pbg Pl</c:v>
                  </c:pt>
                  <c:pt idx="3">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Pbg Pl</c:v>
                </c:pt>
                <c:pt idx="2">
                  <c:v>Pbg: All Others</c:v>
                </c:pt>
                <c:pt idx="3">
                  <c:v>Hydro Silk</c:v>
                </c:pt>
                <c:pt idx="4">
                  <c:v>Bic Soleil</c:v>
                </c:pt>
              </c:strCache>
            </c:strRef>
          </c:cat>
          <c:val>
            <c:numRef>
              <c:f>Sheet1!$B$2:$B$6</c:f>
              <c:numCache>
                <c:formatCode>General</c:formatCode>
                <c:ptCount val="5"/>
                <c:pt idx="1">
                  <c:v>1.9702380952380953</c:v>
                </c:pt>
                <c:pt idx="3">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C$2:$C$6</c:f>
              <c:numCache>
                <c:formatCode>General</c:formatCode>
                <c:ptCount val="5"/>
                <c:pt idx="0">
                  <c:v>12.330545548121462</c:v>
                </c:pt>
                <c:pt idx="1">
                  <c:v>7.0096754057428212</c:v>
                </c:pt>
                <c:pt idx="3">
                  <c:v>8.9820996613449449</c:v>
                </c:pt>
                <c:pt idx="4">
                  <c:v>8.51313802476593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D$2:$D$6</c:f>
              <c:numCache>
                <c:formatCode>General</c:formatCode>
                <c:ptCount val="5"/>
                <c:pt idx="1">
                  <c:v>5.9809079338141702</c:v>
                </c:pt>
                <c:pt idx="2">
                  <c:v>7.05927089360998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E$2:$E$6</c:f>
              <c:numCache>
                <c:formatCode>General</c:formatCode>
                <c:ptCount val="5"/>
                <c:pt idx="0">
                  <c:v>19.909769757311761</c:v>
                </c:pt>
                <c:pt idx="3">
                  <c:v>15.216697080291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F$2:$F$6</c:f>
              <c:numCache>
                <c:formatCode>General</c:formatCode>
                <c:ptCount val="5"/>
                <c:pt idx="1">
                  <c:v>10.88357877188107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10.4490566037735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10.270929873339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B$2:$B$10</c:f>
              <c:numCache>
                <c:formatCode>General</c:formatCode>
                <c:ptCount val="9"/>
                <c:pt idx="2">
                  <c:v>5.9793434615225403</c:v>
                </c:pt>
                <c:pt idx="3">
                  <c:v>5.9506585612968594</c:v>
                </c:pt>
                <c:pt idx="7">
                  <c:v>2.9443701130519107</c:v>
                </c:pt>
                <c:pt idx="8">
                  <c:v>14.9260373574025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C$2:$C$10</c:f>
              <c:numCache>
                <c:formatCode>General</c:formatCode>
                <c:ptCount val="9"/>
                <c:pt idx="0">
                  <c:v>5.9373034302342669</c:v>
                </c:pt>
                <c:pt idx="1">
                  <c:v>5.3827990869048001</c:v>
                </c:pt>
                <c:pt idx="3">
                  <c:v>2.6701993151762795</c:v>
                </c:pt>
                <c:pt idx="5">
                  <c:v>4.9631068715637321</c:v>
                </c:pt>
                <c:pt idx="6">
                  <c:v>10.9205715486446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D$2:$D$10</c:f>
              <c:numCache>
                <c:formatCode>General</c:formatCode>
                <c:ptCount val="9"/>
                <c:pt idx="0">
                  <c:v>8.8769711948557557</c:v>
                </c:pt>
                <c:pt idx="4">
                  <c:v>5.09991221225126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E$2:$E$10</c:f>
              <c:numCache>
                <c:formatCode>General</c:formatCode>
                <c:ptCount val="9"/>
                <c:pt idx="0">
                  <c:v>11.58646960231601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562690516752</c:v>
                </c:pt>
                <c:pt idx="2">
                  <c:v>2.47999949990935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71599384740401</c:v>
                </c:pt>
                <c:pt idx="3">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4.957355773581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14852566436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2.0024244542247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2">
                  <c:v>1.064283823140058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1">
                  <c:v>2.970083426324459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4706196093843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16740831242771</c:v>
                </c:pt>
                <c:pt idx="1">
                  <c:v>4.174569395974129</c:v>
                </c:pt>
                <c:pt idx="2">
                  <c:v>3.97882743121053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863129170445649</c:v>
                </c:pt>
                <c:pt idx="1">
                  <c:v>5.4165840911009067</c:v>
                </c:pt>
                <c:pt idx="2">
                  <c:v>3.65950853569497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51136069561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6665800379293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628133214101835</c:v>
                </c:pt>
                <c:pt idx="1">
                  <c:v>9.246436933327048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B$2:$B$7</c:f>
              <c:numCache>
                <c:formatCode>General</c:formatCode>
                <c:ptCount val="6"/>
                <c:pt idx="0">
                  <c:v>10.174558429973239</c:v>
                </c:pt>
                <c:pt idx="5">
                  <c:v>5.55436614969656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C$2:$C$7</c:f>
              <c:numCache>
                <c:formatCode>General</c:formatCode>
                <c:ptCount val="6"/>
                <c:pt idx="0">
                  <c:v>12.106077965329765</c:v>
                </c:pt>
                <c:pt idx="2">
                  <c:v>4.3342499109157862</c:v>
                </c:pt>
                <c:pt idx="3">
                  <c:v>5.43827374009572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D$2:$D$7</c:f>
              <c:numCache>
                <c:formatCode>General</c:formatCode>
                <c:ptCount val="6"/>
                <c:pt idx="1">
                  <c:v>5.9427847155079254</c:v>
                </c:pt>
                <c:pt idx="3">
                  <c:v>6.1805827190211122</c:v>
                </c:pt>
                <c:pt idx="4">
                  <c:v>14.965915987861363</c:v>
                </c:pt>
                <c:pt idx="5">
                  <c:v>6.52345120899384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E$2:$E$7</c:f>
              <c:numCache>
                <c:formatCode>General</c:formatCode>
                <c:ptCount val="6"/>
                <c:pt idx="0">
                  <c:v>22.845041056397847</c:v>
                </c:pt>
                <c:pt idx="2">
                  <c:v>7.74733685220729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F$2:$F$7</c:f>
              <c:numCache>
                <c:formatCode>General</c:formatCode>
                <c:ptCount val="6"/>
                <c:pt idx="1">
                  <c:v>9.384589423401438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2">
                  <c:v>1.9699677239331925</c:v>
                </c:pt>
                <c:pt idx="4">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462261367674136</c:v>
                </c:pt>
                <c:pt idx="1">
                  <c:v>9.9187133126030087</c:v>
                </c:pt>
                <c:pt idx="2">
                  <c:v>5.7179044649816282</c:v>
                </c:pt>
                <c:pt idx="3">
                  <c:v>9.2570097402049321</c:v>
                </c:pt>
                <c:pt idx="4">
                  <c:v>9.9513330206717416</c:v>
                </c:pt>
                <c:pt idx="5">
                  <c:v>6.8649916961205975</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716474889483576</c:v>
                </c:pt>
                <c:pt idx="4">
                  <c:v>9.68933630640083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276232340108027</c:v>
                </c:pt>
                <c:pt idx="1">
                  <c:v>9.9699639504642512</c:v>
                </c:pt>
                <c:pt idx="2">
                  <c:v>6.9486076802155852</c:v>
                </c:pt>
                <c:pt idx="3">
                  <c:v>9.6813565574242926</c:v>
                </c:pt>
                <c:pt idx="4">
                  <c:v>14.535465281199146</c:v>
                </c:pt>
                <c:pt idx="5">
                  <c:v>9.5373758082321398</c:v>
                </c:pt>
                <c:pt idx="6">
                  <c:v>9.7677708357892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058193998921283</c:v>
                </c:pt>
                <c:pt idx="2">
                  <c:v>8.5006278999061458</c:v>
                </c:pt>
                <c:pt idx="4">
                  <c:v>17.8090606412030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7383921276066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9.02038799604722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2.206764705882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8025362318840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0729344933563</c:v>
                </c:pt>
                <c:pt idx="4">
                  <c:v>5.9459770114942527</c:v>
                </c:pt>
                <c:pt idx="7">
                  <c:v>2.9180850245580108</c:v>
                </c:pt>
                <c:pt idx="8">
                  <c:v>14.954033348355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385142697257978</c:v>
                </c:pt>
                <c:pt idx="1">
                  <c:v>5.405395246474078</c:v>
                </c:pt>
                <c:pt idx="2">
                  <c:v>4.9614990990990995</c:v>
                </c:pt>
                <c:pt idx="4">
                  <c:v>2.6701281563253394</c:v>
                </c:pt>
                <c:pt idx="6">
                  <c:v>10.938366774859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0">
                  <c:v>8.9033975908349543</c:v>
                </c:pt>
                <c:pt idx="5">
                  <c:v>5.11505936993383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11.9542817196784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471954432968</c:v>
                </c:pt>
                <c:pt idx="2">
                  <c:v>2.47990700264094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75027476465814</c:v>
                </c:pt>
                <c:pt idx="3">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4.9393319496498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47513931721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47009349695300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2.0097372081657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06309989094431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2.970141494658126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3CB70B-2EDA-4E68-A1A5-585338B64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D91A4-BCAA-4576-A1EA-B2A578B8C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A5E3D0-A745-422C-AFDD-5DF5B9467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86B512-6DC9-4CFC-8966-40C230177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40F981-D6D8-4065-9035-CEE1BC6B9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67AD27-C020-4EE1-9E7F-C8B32EAC0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385954-683F-4C7F-9E77-FD731C4E3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A86604-26E0-4069-8306-3CB6325E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154794256882163</c:v>
                </c:pt>
                <c:pt idx="1">
                  <c:v>6.1732709345687509</c:v>
                </c:pt>
                <c:pt idx="2">
                  <c:v>3.9062276857868481</c:v>
                </c:pt>
                <c:pt idx="3">
                  <c:v>3.768841933464659</c:v>
                </c:pt>
                <c:pt idx="4">
                  <c:v>6.7633419576870226</c:v>
                </c:pt>
                <c:pt idx="5">
                  <c:v>14.97172425032594</c:v>
                </c:pt>
                <c:pt idx="6">
                  <c:v>11.082106360091441</c:v>
                </c:pt>
                <c:pt idx="7">
                  <c:v>10.09214273747696</c:v>
                </c:pt>
              </c:numCache>
            </c:numRef>
          </c:xVal>
          <c:yVal>
            <c:numRef>
              <c:f>Sheet1!$B$2:$B$9</c:f>
              <c:numCache>
                <c:formatCode>General</c:formatCode>
                <c:ptCount val="8"/>
                <c:pt idx="0">
                  <c:v>1.7140016550034769</c:v>
                </c:pt>
                <c:pt idx="1">
                  <c:v>1.660532182550795</c:v>
                </c:pt>
                <c:pt idx="2">
                  <c:v>0.88126854684095102</c:v>
                </c:pt>
                <c:pt idx="3">
                  <c:v>0.27099067943021099</c:v>
                </c:pt>
                <c:pt idx="4">
                  <c:v>1.3705605049875409</c:v>
                </c:pt>
                <c:pt idx="5">
                  <c:v>0.79467902258470091</c:v>
                </c:pt>
                <c:pt idx="6">
                  <c:v>3.1816312916953162</c:v>
                </c:pt>
                <c:pt idx="7">
                  <c:v>3.2141199077038962</c:v>
                </c:pt>
              </c:numCache>
            </c:numRef>
          </c:yVal>
          <c:bubbleSize>
            <c:numRef>
              <c:f>Sheet1!$C$2:$C$9</c:f>
              <c:numCache>
                <c:formatCode>General</c:formatCode>
                <c:ptCount val="8"/>
                <c:pt idx="0">
                  <c:v>12246726</c:v>
                </c:pt>
                <c:pt idx="1">
                  <c:v>8258892</c:v>
                </c:pt>
                <c:pt idx="2">
                  <c:v>6996753</c:v>
                </c:pt>
                <c:pt idx="3">
                  <c:v>3112826</c:v>
                </c:pt>
                <c:pt idx="4">
                  <c:v>1092672</c:v>
                </c:pt>
                <c:pt idx="5">
                  <c:v>734932</c:v>
                </c:pt>
                <c:pt idx="6">
                  <c:v>659341</c:v>
                </c:pt>
                <c:pt idx="7">
                  <c:v>36144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4741329319966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13031809706762</c:v>
                </c:pt>
                <c:pt idx="1">
                  <c:v>4.1627756946721606</c:v>
                </c:pt>
                <c:pt idx="2">
                  <c:v>3.9793553097731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230833675740001</c:v>
                </c:pt>
                <c:pt idx="1">
                  <c:v>5.416920196583197</c:v>
                </c:pt>
                <c:pt idx="2">
                  <c:v>3.66014070303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69169444401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5456745020750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578875003819244</c:v>
                </c:pt>
                <c:pt idx="1">
                  <c:v>9.207266644258053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39724435337115</c:v>
                </c:pt>
                <c:pt idx="5">
                  <c:v>5.42528493669744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081563686033926</c:v>
                </c:pt>
                <c:pt idx="2">
                  <c:v>5.4372837993658116</c:v>
                </c:pt>
                <c:pt idx="3">
                  <c:v>4.33678034988513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3039683253847</c:v>
                </c:pt>
                <c:pt idx="2">
                  <c:v>6.1836590406439216</c:v>
                </c:pt>
                <c:pt idx="4">
                  <c:v>14.951896498771498</c:v>
                </c:pt>
                <c:pt idx="5">
                  <c:v>6.50298282182131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2.701966766194989</c:v>
                </c:pt>
                <c:pt idx="3">
                  <c:v>7.74957283212302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188410687444399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B$2:$B$8</c:f>
              <c:numCache>
                <c:formatCode>General</c:formatCode>
                <c:ptCount val="7"/>
                <c:pt idx="2">
                  <c:v>1.9692122542634019</c:v>
                </c:pt>
                <c:pt idx="3">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C$2:$C$8</c:f>
              <c:numCache>
                <c:formatCode>General</c:formatCode>
                <c:ptCount val="7"/>
                <c:pt idx="0">
                  <c:v>11.499373801916933</c:v>
                </c:pt>
                <c:pt idx="1">
                  <c:v>9.9087464159196159</c:v>
                </c:pt>
                <c:pt idx="2">
                  <c:v>5.717950551257668</c:v>
                </c:pt>
                <c:pt idx="3">
                  <c:v>9.9499455160409269</c:v>
                </c:pt>
                <c:pt idx="4">
                  <c:v>9.2586770317447424</c:v>
                </c:pt>
                <c:pt idx="5">
                  <c:v>6.868513326182546</c:v>
                </c:pt>
                <c:pt idx="6">
                  <c:v>9.9657766632246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D$2:$D$8</c:f>
              <c:numCache>
                <c:formatCode>General</c:formatCode>
                <c:ptCount val="7"/>
                <c:pt idx="2">
                  <c:v>5.3748935937836286</c:v>
                </c:pt>
                <c:pt idx="3">
                  <c:v>9.49768810424548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E$2:$E$8</c:f>
              <c:numCache>
                <c:formatCode>General</c:formatCode>
                <c:ptCount val="7"/>
                <c:pt idx="0">
                  <c:v>19.295679555452651</c:v>
                </c:pt>
                <c:pt idx="1">
                  <c:v>9.9702407130501065</c:v>
                </c:pt>
                <c:pt idx="2">
                  <c:v>6.9448208683694084</c:v>
                </c:pt>
                <c:pt idx="3">
                  <c:v>14.510801904064445</c:v>
                </c:pt>
                <c:pt idx="4">
                  <c:v>9.6984351690492296</c:v>
                </c:pt>
                <c:pt idx="5">
                  <c:v>9.2082607465642266</c:v>
                </c:pt>
                <c:pt idx="6">
                  <c:v>9.818029750881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F$2:$F$8</c:f>
              <c:numCache>
                <c:formatCode>General</c:formatCode>
                <c:ptCount val="7"/>
                <c:pt idx="0">
                  <c:v>26.140906328951996</c:v>
                </c:pt>
                <c:pt idx="2">
                  <c:v>8.482313795492356</c:v>
                </c:pt>
                <c:pt idx="3">
                  <c:v>17.8527398631069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G$2:$G$8</c:f>
              <c:numCache>
                <c:formatCode>General</c:formatCode>
                <c:ptCount val="7"/>
                <c:pt idx="1">
                  <c:v>16.862382576437504</c:v>
                </c:pt>
                <c:pt idx="4">
                  <c:v>16.90375068946497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2583658188274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3730402705195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1506988049422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6947094535993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B$2:$B$10</c:f>
              <c:numCache>
                <c:formatCode>General</c:formatCode>
                <c:ptCount val="9"/>
                <c:pt idx="2">
                  <c:v>5.9794569067296344</c:v>
                </c:pt>
                <c:pt idx="5">
                  <c:v>5.9522767531520264</c:v>
                </c:pt>
                <c:pt idx="7">
                  <c:v>2.9475315691584822</c:v>
                </c:pt>
                <c:pt idx="8">
                  <c:v>15.0275118004045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C$2:$C$10</c:f>
              <c:numCache>
                <c:formatCode>General</c:formatCode>
                <c:ptCount val="9"/>
                <c:pt idx="0">
                  <c:v>6.0184723010020802</c:v>
                </c:pt>
                <c:pt idx="1">
                  <c:v>5.4013524447280306</c:v>
                </c:pt>
                <c:pt idx="4">
                  <c:v>4.9601000086214331</c:v>
                </c:pt>
                <c:pt idx="5">
                  <c:v>2.6698367509730301</c:v>
                </c:pt>
                <c:pt idx="6">
                  <c:v>10.9354074597843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D$2:$D$10</c:f>
              <c:numCache>
                <c:formatCode>General</c:formatCode>
                <c:ptCount val="9"/>
                <c:pt idx="0">
                  <c:v>8.9058967885037408</c:v>
                </c:pt>
                <c:pt idx="3">
                  <c:v>5.16500473169534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E$2:$E$10</c:f>
              <c:numCache>
                <c:formatCode>General</c:formatCode>
                <c:ptCount val="9"/>
                <c:pt idx="0">
                  <c:v>12.2055619266055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00705538222465</c:v>
                </c:pt>
                <c:pt idx="3">
                  <c:v>2.53045096583147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776303898451211</c:v>
                </c:pt>
                <c:pt idx="2">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5.1105634273492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9.12189331770222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50148867911463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1">
                  <c:v>12.1118526617724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3">
                  <c:v>1.08607516150494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I$2:$I$5</c:f>
              <c:numCache>
                <c:formatCode>General</c:formatCode>
                <c:ptCount val="4"/>
                <c:pt idx="1">
                  <c:v>2.970168265450542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16623515342907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7.0171156462585031</c:v>
                </c:pt>
                <c:pt idx="1">
                  <c:v>4.2349755863864464</c:v>
                </c:pt>
                <c:pt idx="2">
                  <c:v>3.97963636822289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0434261138906891</c:v>
                </c:pt>
                <c:pt idx="1">
                  <c:v>5.5122239808227178</c:v>
                </c:pt>
                <c:pt idx="2">
                  <c:v>3.72857132472139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89682216834534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045856378985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2.269564971271688</c:v>
                </c:pt>
                <c:pt idx="1">
                  <c:v>9.341065622228791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B$2:$B$7</c:f>
              <c:numCache>
                <c:formatCode>General</c:formatCode>
                <c:ptCount val="6"/>
                <c:pt idx="0">
                  <c:v>10.189612113379557</c:v>
                </c:pt>
                <c:pt idx="5">
                  <c:v>5.206727743198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C$2:$C$7</c:f>
              <c:numCache>
                <c:formatCode>General</c:formatCode>
                <c:ptCount val="6"/>
                <c:pt idx="0">
                  <c:v>12.172453182146862</c:v>
                </c:pt>
                <c:pt idx="1">
                  <c:v>5.5230450486383482</c:v>
                </c:pt>
                <c:pt idx="3">
                  <c:v>4.40668971181530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D$2:$D$7</c:f>
              <c:numCache>
                <c:formatCode>General</c:formatCode>
                <c:ptCount val="6"/>
                <c:pt idx="1">
                  <c:v>6.2133338677033443</c:v>
                </c:pt>
                <c:pt idx="2">
                  <c:v>6.0177745341541797</c:v>
                </c:pt>
                <c:pt idx="4">
                  <c:v>15.088097469540768</c:v>
                </c:pt>
                <c:pt idx="5">
                  <c:v>6.58291079068293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E$2:$E$7</c:f>
              <c:numCache>
                <c:formatCode>General</c:formatCode>
                <c:ptCount val="6"/>
                <c:pt idx="0">
                  <c:v>23.189585028478437</c:v>
                </c:pt>
                <c:pt idx="3">
                  <c:v>7.85790153160025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F$2:$F$7</c:f>
              <c:numCache>
                <c:formatCode>General</c:formatCode>
                <c:ptCount val="6"/>
                <c:pt idx="2">
                  <c:v>9.29137184496778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B$2:$B$8</c:f>
              <c:numCache>
                <c:formatCode>General</c:formatCode>
                <c:ptCount val="7"/>
                <c:pt idx="1">
                  <c:v>2.023944881321694</c:v>
                </c:pt>
                <c:pt idx="3">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C$2:$C$8</c:f>
              <c:numCache>
                <c:formatCode>General</c:formatCode>
                <c:ptCount val="7"/>
                <c:pt idx="0">
                  <c:v>11.65443500604972</c:v>
                </c:pt>
                <c:pt idx="1">
                  <c:v>5.809354030372849</c:v>
                </c:pt>
                <c:pt idx="2">
                  <c:v>9.9328793192182019</c:v>
                </c:pt>
                <c:pt idx="3">
                  <c:v>9.952661623427856</c:v>
                </c:pt>
                <c:pt idx="4">
                  <c:v>9.2849381530569701</c:v>
                </c:pt>
                <c:pt idx="5">
                  <c:v>6.8646935085064769</c:v>
                </c:pt>
                <c:pt idx="6">
                  <c:v>10.0918766228207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D$2:$D$8</c:f>
              <c:numCache>
                <c:formatCode>General</c:formatCode>
                <c:ptCount val="7"/>
                <c:pt idx="1">
                  <c:v>5.4535852419008268</c:v>
                </c:pt>
                <c:pt idx="3">
                  <c:v>9.74894970591765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E$2:$E$8</c:f>
              <c:numCache>
                <c:formatCode>General</c:formatCode>
                <c:ptCount val="7"/>
                <c:pt idx="0">
                  <c:v>19.358283690227015</c:v>
                </c:pt>
                <c:pt idx="1">
                  <c:v>7.0183883941845728</c:v>
                </c:pt>
                <c:pt idx="2">
                  <c:v>9.9706687220668719</c:v>
                </c:pt>
                <c:pt idx="3">
                  <c:v>14.519421637484749</c:v>
                </c:pt>
                <c:pt idx="4">
                  <c:v>9.7641592414896046</c:v>
                </c:pt>
                <c:pt idx="5">
                  <c:v>9.4814392456555403</c:v>
                </c:pt>
                <c:pt idx="6">
                  <c:v>9.92092964506757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F$2:$F$8</c:f>
              <c:numCache>
                <c:formatCode>General</c:formatCode>
                <c:ptCount val="7"/>
                <c:pt idx="0">
                  <c:v>26.264517234625931</c:v>
                </c:pt>
                <c:pt idx="1">
                  <c:v>8.6057150122995516</c:v>
                </c:pt>
                <c:pt idx="3">
                  <c:v>18.17924981142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G$2:$G$8</c:f>
              <c:numCache>
                <c:formatCode>General</c:formatCode>
                <c:ptCount val="7"/>
                <c:pt idx="2">
                  <c:v>16.962004044546983</c:v>
                </c:pt>
                <c:pt idx="4">
                  <c:v>16.9210877413278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F57884-FB3D-40B8-BDC6-736F2CFA3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FD2A00-DED3-4C5B-879E-2936BEEE8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B4A040-0140-4ECF-9B31-005843B54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494578-67FF-40DB-86D8-3ABBFC6AC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D774CA-7816-4BDB-9BBF-A3A5BC87B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F1BE23-1C14-4F94-AF8F-274C32D02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B4CB35-25A2-466C-8285-CFF796199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B38B2-8EC4-4A36-8559-ED9DA21CC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1833077442479</c:v>
                </c:pt>
                <c:pt idx="1">
                  <c:v>10.692847277157369</c:v>
                </c:pt>
                <c:pt idx="2">
                  <c:v>12.506452934176441</c:v>
                </c:pt>
                <c:pt idx="3">
                  <c:v>10.35348719615704</c:v>
                </c:pt>
                <c:pt idx="4">
                  <c:v>12.67921996765182</c:v>
                </c:pt>
                <c:pt idx="5">
                  <c:v>7.0066430837194629</c:v>
                </c:pt>
                <c:pt idx="6">
                  <c:v>10.81698312823654</c:v>
                </c:pt>
                <c:pt idx="7">
                  <c:v>8.5321421419194046</c:v>
                </c:pt>
              </c:numCache>
            </c:numRef>
          </c:xVal>
          <c:yVal>
            <c:numRef>
              <c:f>Sheet1!$B$2:$B$9</c:f>
              <c:numCache>
                <c:formatCode>General</c:formatCode>
                <c:ptCount val="8"/>
                <c:pt idx="0">
                  <c:v>1.3418423667126631</c:v>
                </c:pt>
                <c:pt idx="1">
                  <c:v>0.8554679463386694</c:v>
                </c:pt>
                <c:pt idx="2">
                  <c:v>1.1500000555124821</c:v>
                </c:pt>
                <c:pt idx="3">
                  <c:v>0.75924977199539534</c:v>
                </c:pt>
                <c:pt idx="4">
                  <c:v>1.329722426916798</c:v>
                </c:pt>
                <c:pt idx="5">
                  <c:v>0.52641613296675538</c:v>
                </c:pt>
                <c:pt idx="6">
                  <c:v>0.8847999653807227</c:v>
                </c:pt>
                <c:pt idx="7">
                  <c:v>0.31028374825753158</c:v>
                </c:pt>
              </c:numCache>
            </c:numRef>
          </c:yVal>
          <c:bubbleSize>
            <c:numRef>
              <c:f>Sheet1!$C$2:$C$9</c:f>
              <c:numCache>
                <c:formatCode>General</c:formatCode>
                <c:ptCount val="8"/>
                <c:pt idx="0">
                  <c:v>14078851</c:v>
                </c:pt>
                <c:pt idx="1">
                  <c:v>5906932</c:v>
                </c:pt>
                <c:pt idx="2">
                  <c:v>5160200</c:v>
                </c:pt>
                <c:pt idx="3">
                  <c:v>4299855</c:v>
                </c:pt>
                <c:pt idx="4">
                  <c:v>3449255</c:v>
                </c:pt>
                <c:pt idx="5">
                  <c:v>1687564</c:v>
                </c:pt>
                <c:pt idx="6">
                  <c:v>971311</c:v>
                </c:pt>
                <c:pt idx="7">
                  <c:v>38344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53655276874415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6493423618250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7076240272373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2.08744902582691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9.91975578409493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4.8167270603737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1.64477488641057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B$2:$B$8</c:f>
              <c:numCache>
                <c:formatCode>General</c:formatCode>
                <c:ptCount val="7"/>
                <c:pt idx="5">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C$2:$C$8</c:f>
              <c:numCache>
                <c:formatCode>General</c:formatCode>
                <c:ptCount val="7"/>
                <c:pt idx="0">
                  <c:v>33.8887307714104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D$2:$D$8</c:f>
              <c:numCache>
                <c:formatCode>General</c:formatCode>
                <c:ptCount val="7"/>
                <c:pt idx="0">
                  <c:v>27.7967505705356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E$2:$E$8</c:f>
              <c:numCache>
                <c:formatCode>General</c:formatCode>
                <c:ptCount val="7"/>
                <c:pt idx="0">
                  <c:v>10.5279654979021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F$2:$F$8</c:f>
              <c:numCache>
                <c:formatCode>General</c:formatCode>
                <c:ptCount val="7"/>
                <c:pt idx="0">
                  <c:v>10.65951641000955</c:v>
                </c:pt>
                <c:pt idx="1">
                  <c:v>4.3777594127092216</c:v>
                </c:pt>
                <c:pt idx="2">
                  <c:v>6.8412888684463447</c:v>
                </c:pt>
                <c:pt idx="3">
                  <c:v>10.086347395875576</c:v>
                </c:pt>
                <c:pt idx="4">
                  <c:v>10.1768544230923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G$2:$G$8</c:f>
              <c:numCache>
                <c:formatCode>General</c:formatCode>
                <c:ptCount val="7"/>
                <c:pt idx="0">
                  <c:v>6.6466255255525688</c:v>
                </c:pt>
                <c:pt idx="1">
                  <c:v>4.8088448349238959</c:v>
                </c:pt>
                <c:pt idx="2">
                  <c:v>5.0957025992364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H$2:$H$8</c:f>
              <c:numCache>
                <c:formatCode>General</c:formatCode>
                <c:ptCount val="7"/>
                <c:pt idx="0">
                  <c:v>13.156087793510588</c:v>
                </c:pt>
                <c:pt idx="1">
                  <c:v>4.5210485747011555</c:v>
                </c:pt>
                <c:pt idx="2">
                  <c:v>6.4573274968128391</c:v>
                </c:pt>
                <c:pt idx="3">
                  <c:v>10.101834405812999</c:v>
                </c:pt>
                <c:pt idx="4">
                  <c:v>10.198838673695581</c:v>
                </c:pt>
                <c:pt idx="6">
                  <c:v>9.646166745198037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I$2:$I$8</c:f>
              <c:numCache>
                <c:formatCode>General</c:formatCode>
                <c:ptCount val="7"/>
                <c:pt idx="1">
                  <c:v>3.31300725765741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J$2:$J$8</c:f>
              <c:numCache>
                <c:formatCode>General</c:formatCode>
                <c:ptCount val="7"/>
                <c:pt idx="0">
                  <c:v>22.623083693559455</c:v>
                </c:pt>
                <c:pt idx="1">
                  <c:v>8.355884696041332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K$2:$K$8</c:f>
              <c:numCache>
                <c:formatCode>General</c:formatCode>
                <c:ptCount val="7"/>
                <c:pt idx="0">
                  <c:v>6.7566670212483046</c:v>
                </c:pt>
                <c:pt idx="4">
                  <c:v>16.9866189921836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B$2:$B$10</c:f>
              <c:numCache>
                <c:formatCode>General</c:formatCode>
                <c:ptCount val="9"/>
                <c:pt idx="2">
                  <c:v>28.2731281411056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C$2:$C$10</c:f>
              <c:numCache>
                <c:formatCode>General</c:formatCode>
                <c:ptCount val="9"/>
                <c:pt idx="7">
                  <c:v>19.11877650994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D$2:$D$10</c:f>
              <c:numCache>
                <c:formatCode>General</c:formatCode>
                <c:ptCount val="9"/>
                <c:pt idx="0">
                  <c:v>14.431074252939204</c:v>
                </c:pt>
                <c:pt idx="1">
                  <c:v>30.0575514792361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E$2:$E$10</c:f>
              <c:numCache>
                <c:formatCode>General</c:formatCode>
                <c:ptCount val="9"/>
                <c:pt idx="1">
                  <c:v>12.550779152481386</c:v>
                </c:pt>
                <c:pt idx="3">
                  <c:v>4.8151199366152637</c:v>
                </c:pt>
                <c:pt idx="8">
                  <c:v>6.41523111749643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F$2:$F$10</c:f>
              <c:numCache>
                <c:formatCode>General</c:formatCode>
                <c:ptCount val="9"/>
                <c:pt idx="0">
                  <c:v>6.5178014852044077</c:v>
                </c:pt>
                <c:pt idx="2">
                  <c:v>7.5312699779016095</c:v>
                </c:pt>
                <c:pt idx="3">
                  <c:v>10.345652912817433</c:v>
                </c:pt>
                <c:pt idx="4">
                  <c:v>3.888565873944009</c:v>
                </c:pt>
                <c:pt idx="5">
                  <c:v>5.4302920657524494</c:v>
                </c:pt>
                <c:pt idx="6">
                  <c:v>5.24088961742923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G$2:$G$10</c:f>
              <c:numCache>
                <c:formatCode>General</c:formatCode>
                <c:ptCount val="9"/>
                <c:pt idx="0">
                  <c:v>20.162933689077907</c:v>
                </c:pt>
                <c:pt idx="1">
                  <c:v>10.0875651333552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H$2:$H$10</c:f>
              <c:numCache>
                <c:formatCode>General</c:formatCode>
                <c:ptCount val="9"/>
                <c:pt idx="0">
                  <c:v>8.941291496954185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I$2:$I$10</c:f>
              <c:numCache>
                <c:formatCode>General</c:formatCode>
                <c:ptCount val="9"/>
                <c:pt idx="0">
                  <c:v>10.613776802764233</c:v>
                </c:pt>
                <c:pt idx="2">
                  <c:v>16.035361462947133</c:v>
                </c:pt>
                <c:pt idx="7">
                  <c:v>10.35650851930468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B$2:$B$7</c:f>
              <c:numCache>
                <c:formatCode>General</c:formatCode>
                <c:ptCount val="6"/>
                <c:pt idx="0">
                  <c:v>18.066252827036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C$2:$C$7</c:f>
              <c:numCache>
                <c:formatCode>General</c:formatCode>
                <c:ptCount val="6"/>
                <c:pt idx="0">
                  <c:v>12.816080849589051</c:v>
                </c:pt>
                <c:pt idx="1">
                  <c:v>6.9432728295075563</c:v>
                </c:pt>
                <c:pt idx="3">
                  <c:v>10.255071805694879</c:v>
                </c:pt>
                <c:pt idx="5">
                  <c:v>9.64453890358478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D$2:$D$7</c:f>
              <c:numCache>
                <c:formatCode>General</c:formatCode>
                <c:ptCount val="6"/>
                <c:pt idx="2">
                  <c:v>12.215345086268336</c:v>
                </c:pt>
                <c:pt idx="3">
                  <c:v>11.297820833420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E$2:$E$7</c:f>
              <c:numCache>
                <c:formatCode>General</c:formatCode>
                <c:ptCount val="6"/>
                <c:pt idx="0">
                  <c:v>10.035625640338862</c:v>
                </c:pt>
                <c:pt idx="1">
                  <c:v>5.9584112834814285</c:v>
                </c:pt>
                <c:pt idx="3">
                  <c:v>15.254690472312575</c:v>
                </c:pt>
                <c:pt idx="4">
                  <c:v>6.4141758194012821</c:v>
                </c:pt>
                <c:pt idx="5">
                  <c:v>11.609499228669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F$2:$F$7</c:f>
              <c:numCache>
                <c:formatCode>General</c:formatCode>
                <c:ptCount val="6"/>
                <c:pt idx="0">
                  <c:v>7.15249165475767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G$2:$G$7</c:f>
              <c:numCache>
                <c:formatCode>General</c:formatCode>
                <c:ptCount val="6"/>
                <c:pt idx="0">
                  <c:v>17.68530824519036</c:v>
                </c:pt>
                <c:pt idx="2">
                  <c:v>25.005722827560433</c:v>
                </c:pt>
                <c:pt idx="3">
                  <c:v>18.42111978612874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H$2:$H$7</c:f>
              <c:numCache>
                <c:formatCode>General</c:formatCode>
                <c:ptCount val="6"/>
                <c:pt idx="1">
                  <c:v>9.73959524515409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8.7102506142506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9.16114759030813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17.28344225319530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B$2:$B$8</c:f>
              <c:numCache>
                <c:formatCode>General</c:formatCode>
                <c:ptCount val="7"/>
                <c:pt idx="1">
                  <c:v>11.25926133288543</c:v>
                </c:pt>
                <c:pt idx="2">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C$2:$C$8</c:f>
              <c:numCache>
                <c:formatCode>General</c:formatCode>
                <c:ptCount val="7"/>
                <c:pt idx="3">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D$2:$D$8</c:f>
              <c:numCache>
                <c:formatCode>General</c:formatCode>
                <c:ptCount val="7"/>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E$2:$E$8</c:f>
              <c:numCache>
                <c:formatCode>General</c:formatCode>
                <c:ptCount val="7"/>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F$2:$F$8</c:f>
              <c:numCache>
                <c:formatCode>General</c:formatCode>
                <c:ptCount val="7"/>
                <c:pt idx="0">
                  <c:v>10.455102613152633</c:v>
                </c:pt>
                <c:pt idx="3">
                  <c:v>9.89935322593444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G$2:$G$8</c:f>
              <c:numCache>
                <c:formatCode>General</c:formatCode>
                <c:ptCount val="7"/>
                <c:pt idx="0">
                  <c:v>8.06401029872506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H$2:$H$8</c:f>
              <c:numCache>
                <c:formatCode>General</c:formatCode>
                <c:ptCount val="7"/>
                <c:pt idx="6">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I$2:$I$8</c:f>
              <c:numCache>
                <c:formatCode>General</c:formatCode>
                <c:ptCount val="7"/>
                <c:pt idx="0">
                  <c:v>17.74299684184761</c:v>
                </c:pt>
                <c:pt idx="1">
                  <c:v>5.8777935318344472</c:v>
                </c:pt>
                <c:pt idx="2">
                  <c:v>14.5349892454108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J$2:$J$8</c:f>
              <c:numCache>
                <c:formatCode>General</c:formatCode>
                <c:ptCount val="7"/>
                <c:pt idx="0">
                  <c:v>22.533165559832405</c:v>
                </c:pt>
                <c:pt idx="2">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K$2:$K$8</c:f>
              <c:numCache>
                <c:formatCode>General</c:formatCode>
                <c:ptCount val="7"/>
                <c:pt idx="0">
                  <c:v>19.669781417443183</c:v>
                </c:pt>
                <c:pt idx="4">
                  <c:v>22.616966225284685</c:v>
                </c:pt>
                <c:pt idx="5">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B$2:$B$6</c:f>
              <c:numCache>
                <c:formatCode>General</c:formatCode>
                <c:ptCount val="5"/>
                <c:pt idx="4">
                  <c:v>18.0059107689890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C$2:$C$6</c:f>
              <c:numCache>
                <c:formatCode>General</c:formatCode>
                <c:ptCount val="5"/>
                <c:pt idx="0">
                  <c:v>28.2731281411056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D$2:$D$6</c:f>
              <c:numCache>
                <c:formatCode>General</c:formatCode>
                <c:ptCount val="5"/>
                <c:pt idx="1">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E$2:$E$6</c:f>
              <c:numCache>
                <c:formatCode>General</c:formatCode>
                <c:ptCount val="5"/>
                <c:pt idx="1">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F$2:$F$6</c:f>
              <c:numCache>
                <c:formatCode>General</c:formatCode>
                <c:ptCount val="5"/>
                <c:pt idx="2">
                  <c:v>14.69353604895773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G$2:$G$6</c:f>
              <c:numCache>
                <c:formatCode>General</c:formatCode>
                <c:ptCount val="5"/>
                <c:pt idx="1">
                  <c:v>7.14355420817092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H$2:$H$6</c:f>
              <c:numCache>
                <c:formatCode>General</c:formatCode>
                <c:ptCount val="5"/>
                <c:pt idx="0">
                  <c:v>21.339534654198228</c:v>
                </c:pt>
                <c:pt idx="1">
                  <c:v>6.5933219038288842</c:v>
                </c:pt>
                <c:pt idx="3">
                  <c:v>20.163924888657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I$2:$I$6</c:f>
              <c:numCache>
                <c:formatCode>General</c:formatCode>
                <c:ptCount val="5"/>
                <c:pt idx="2">
                  <c:v>18.9432100724752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J$2:$J$6</c:f>
              <c:numCache>
                <c:formatCode>General</c:formatCode>
                <c:ptCount val="5"/>
                <c:pt idx="0">
                  <c:v>16.035828813287122</c:v>
                </c:pt>
                <c:pt idx="1">
                  <c:v>10.356920746749894</c:v>
                </c:pt>
                <c:pt idx="2">
                  <c:v>15.6246622635845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c Soleil</c:v>
                </c:pt>
                <c:pt idx="4">
                  <c:v>Billie</c:v>
                </c:pt>
              </c:strCache>
            </c:strRef>
          </c:cat>
          <c:val>
            <c:numRef>
              <c:f>Sheet1!$B$2:$B$6</c:f>
              <c:numCache>
                <c:formatCode>General</c:formatCode>
                <c:ptCount val="5"/>
                <c:pt idx="0">
                  <c:v>10.307017316129702</c:v>
                </c:pt>
                <c:pt idx="2">
                  <c:v>8.7766020978485564</c:v>
                </c:pt>
                <c:pt idx="3">
                  <c:v>6.5227420744133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C$2:$C$6</c:f>
              <c:numCache>
                <c:formatCode>General</c:formatCode>
                <c:ptCount val="5"/>
                <c:pt idx="1">
                  <c:v>9.3316875615147552</c:v>
                </c:pt>
                <c:pt idx="2">
                  <c:v>9.8287569019549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D$2:$D$6</c:f>
              <c:numCache>
                <c:formatCode>General</c:formatCode>
                <c:ptCount val="5"/>
                <c:pt idx="0">
                  <c:v>7.55566592533338</c:v>
                </c:pt>
                <c:pt idx="1">
                  <c:v>13.767494168610463</c:v>
                </c:pt>
                <c:pt idx="4">
                  <c:v>14.4574325149627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E$2:$E$6</c:f>
              <c:numCache>
                <c:formatCode>General</c:formatCode>
                <c:ptCount val="5"/>
                <c:pt idx="0">
                  <c:v>6.6987430733882958</c:v>
                </c:pt>
                <c:pt idx="1">
                  <c:v>15.960438617314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F$2:$F$6</c:f>
              <c:numCache>
                <c:formatCode>General</c:formatCode>
                <c:ptCount val="5"/>
                <c:pt idx="0">
                  <c:v>17.569141972699132</c:v>
                </c:pt>
                <c:pt idx="1">
                  <c:v>16.4095536329201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c Soleil</c:v>
                </c:pt>
                <c:pt idx="4">
                  <c:v>Billie</c:v>
                </c:pt>
              </c:strCache>
            </c:strRef>
          </c:cat>
          <c:val>
            <c:numRef>
              <c:f>Sheet1!$G$2:$G$6</c:f>
              <c:numCache>
                <c:formatCode>General</c:formatCode>
                <c:ptCount val="5"/>
                <c:pt idx="2">
                  <c:v>23.667128587100873</c:v>
                </c:pt>
                <c:pt idx="3">
                  <c:v>9.406228356584545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5255485120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281849527009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12BCF2-B14F-4DF2-BFD9-B682235A8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B2439-A089-4985-9F65-34FCA37B9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4C9582-080C-42B6-B70D-3571A5166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DC663F-E0D0-4C0B-912F-00690D06D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1037FF-DFAE-4EEA-A824-5B741D8C6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0DCC1A-CD4E-4C89-B388-3257F3695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ADEF21-0E85-4AC0-965F-9836197C9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71A6EE-4819-40D2-BE29-9D0E6C63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714241651773969</c:v>
                </c:pt>
                <c:pt idx="1">
                  <c:v>6.1228044736560614</c:v>
                </c:pt>
                <c:pt idx="2">
                  <c:v>3.8915737984132468</c:v>
                </c:pt>
                <c:pt idx="3">
                  <c:v>3.7614696262722731</c:v>
                </c:pt>
                <c:pt idx="4">
                  <c:v>6.6786770487582547</c:v>
                </c:pt>
                <c:pt idx="5">
                  <c:v>14.970950494104169</c:v>
                </c:pt>
                <c:pt idx="6">
                  <c:v>11.104094271126559</c:v>
                </c:pt>
              </c:numCache>
            </c:numRef>
          </c:xVal>
          <c:yVal>
            <c:numRef>
              <c:f>Sheet1!$B$2:$B$8</c:f>
              <c:numCache>
                <c:formatCode>General</c:formatCode>
                <c:ptCount val="7"/>
                <c:pt idx="0">
                  <c:v>1.7429186275654709</c:v>
                </c:pt>
                <c:pt idx="1">
                  <c:v>1.674706811640063</c:v>
                </c:pt>
                <c:pt idx="2">
                  <c:v>0.90242660629925286</c:v>
                </c:pt>
                <c:pt idx="3">
                  <c:v>0.27855736653532498</c:v>
                </c:pt>
                <c:pt idx="4">
                  <c:v>1.4001188749756051</c:v>
                </c:pt>
                <c:pt idx="5">
                  <c:v>0.81593141624634458</c:v>
                </c:pt>
                <c:pt idx="6">
                  <c:v>3.2711175417924672</c:v>
                </c:pt>
              </c:numCache>
            </c:numRef>
          </c:yVal>
          <c:bubbleSize>
            <c:numRef>
              <c:f>Sheet1!$C$2:$C$8</c:f>
              <c:numCache>
                <c:formatCode>General</c:formatCode>
                <c:ptCount val="7"/>
                <c:pt idx="0">
                  <c:v>10758734</c:v>
                </c:pt>
                <c:pt idx="1">
                  <c:v>7727316</c:v>
                </c:pt>
                <c:pt idx="2">
                  <c:v>6155384</c:v>
                </c:pt>
                <c:pt idx="3">
                  <c:v>3040757</c:v>
                </c:pt>
                <c:pt idx="4">
                  <c:v>959786</c:v>
                </c:pt>
                <c:pt idx="5">
                  <c:v>627193</c:v>
                </c:pt>
                <c:pt idx="6">
                  <c:v>57198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360949472549663</c:v>
                </c:pt>
                <c:pt idx="1">
                  <c:v>11.537165123005963</c:v>
                </c:pt>
                <c:pt idx="2">
                  <c:v>11.894361509936294</c:v>
                </c:pt>
                <c:pt idx="4">
                  <c:v>14.003697792563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191203240274012</c:v>
                </c:pt>
                <c:pt idx="4">
                  <c:v>19.147705750145207</c:v>
                </c:pt>
                <c:pt idx="5">
                  <c:v>12.1067119909351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464510902771517</c:v>
                </c:pt>
                <c:pt idx="1">
                  <c:v>12.001885592593688</c:v>
                </c:pt>
                <c:pt idx="2">
                  <c:v>10.852938763026565</c:v>
                </c:pt>
                <c:pt idx="3">
                  <c:v>8.0445478940106678</c:v>
                </c:pt>
                <c:pt idx="5">
                  <c:v>20.730606637074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335647989588328</c:v>
                </c:pt>
                <c:pt idx="4">
                  <c:v>28.308864318553137</c:v>
                </c:pt>
                <c:pt idx="5">
                  <c:v>20.06327785817655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7.720908722109534</c:v>
                </c:pt>
                <c:pt idx="1">
                  <c:v>18.26923076923077</c:v>
                </c:pt>
                <c:pt idx="2">
                  <c:v>19.8133503297134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B$2:$B$10</c:f>
              <c:numCache>
                <c:formatCode>General</c:formatCode>
                <c:ptCount val="9"/>
                <c:pt idx="7">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C$2:$C$10</c:f>
              <c:numCache>
                <c:formatCode>General</c:formatCode>
                <c:ptCount val="9"/>
                <c:pt idx="0">
                  <c:v>19.824299210159516</c:v>
                </c:pt>
                <c:pt idx="3">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D$2:$D$10</c:f>
              <c:numCache>
                <c:formatCode>General</c:formatCode>
                <c:ptCount val="9"/>
                <c:pt idx="2">
                  <c:v>7.1250459018801413</c:v>
                </c:pt>
                <c:pt idx="4">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E$2:$E$10</c:f>
              <c:numCache>
                <c:formatCode>General</c:formatCode>
                <c:ptCount val="9"/>
                <c:pt idx="0">
                  <c:v>8.0810681713965451</c:v>
                </c:pt>
                <c:pt idx="1">
                  <c:v>5.969746647813821</c:v>
                </c:pt>
                <c:pt idx="4">
                  <c:v>8.0151432445281827</c:v>
                </c:pt>
                <c:pt idx="5">
                  <c:v>6.2132192237789585</c:v>
                </c:pt>
                <c:pt idx="6">
                  <c:v>13.194838305676075</c:v>
                </c:pt>
                <c:pt idx="8">
                  <c:v>13.0298675683291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F$2:$F$10</c:f>
              <c:numCache>
                <c:formatCode>General</c:formatCode>
                <c:ptCount val="9"/>
                <c:pt idx="0">
                  <c:v>14.8934397371200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519403082978027</c:v>
                </c:pt>
                <c:pt idx="1">
                  <c:v>12.19901959291793</c:v>
                </c:pt>
                <c:pt idx="4">
                  <c:v>14.0838863028622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33636904203048</c:v>
                </c:pt>
                <c:pt idx="2">
                  <c:v>14.0701271716336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215765966949531</c:v>
                </c:pt>
                <c:pt idx="1">
                  <c:v>18.61519997978726</c:v>
                </c:pt>
                <c:pt idx="3">
                  <c:v>8.19585562737760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94091779558833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89229061582342</c:v>
                </c:pt>
                <c:pt idx="2">
                  <c:v>28.45653786303282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679339744456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740178464353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4053464798815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896421357460978</c:v>
                </c:pt>
                <c:pt idx="6">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055329657310098</c:v>
                </c:pt>
                <c:pt idx="2">
                  <c:v>9.9189749301666783</c:v>
                </c:pt>
                <c:pt idx="3">
                  <c:v>6.8423008893285155</c:v>
                </c:pt>
                <c:pt idx="4">
                  <c:v>9.28337673031557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521428277844118</c:v>
                </c:pt>
                <c:pt idx="1">
                  <c:v>4.7610317059822744</c:v>
                </c:pt>
                <c:pt idx="3">
                  <c:v>4.66353876177475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19664566607776</c:v>
                </c:pt>
                <c:pt idx="1">
                  <c:v>4.759614148795535</c:v>
                </c:pt>
                <c:pt idx="2">
                  <c:v>9.9711573332034629</c:v>
                </c:pt>
                <c:pt idx="3">
                  <c:v>7.039010810635328</c:v>
                </c:pt>
                <c:pt idx="4">
                  <c:v>9.7224111231783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927861624615694</c:v>
                </c:pt>
                <c:pt idx="1">
                  <c:v>8.42019353245290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7285589954720262</c:v>
                </c:pt>
                <c:pt idx="2">
                  <c:v>16.892719741613259</c:v>
                </c:pt>
                <c:pt idx="3">
                  <c:v>8.5106212493668458</c:v>
                </c:pt>
                <c:pt idx="4">
                  <c:v>16.91139554303011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B$2:$B$10</c:f>
              <c:numCache>
                <c:formatCode>General</c:formatCode>
                <c:ptCount val="9"/>
                <c:pt idx="0">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C$2:$C$10</c:f>
              <c:numCache>
                <c:formatCode>General</c:formatCode>
                <c:ptCount val="9"/>
                <c:pt idx="1">
                  <c:v>10.87021610596755</c:v>
                </c:pt>
                <c:pt idx="3">
                  <c:v>5.98342017254988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D$2:$D$10</c:f>
              <c:numCache>
                <c:formatCode>General</c:formatCode>
                <c:ptCount val="9"/>
                <c:pt idx="0">
                  <c:v>6.4423411247396434</c:v>
                </c:pt>
                <c:pt idx="2">
                  <c:v>5.3957194815687926</c:v>
                </c:pt>
                <c:pt idx="4">
                  <c:v>4.9614314020305725</c:v>
                </c:pt>
                <c:pt idx="6">
                  <c:v>2.6745526989356452</c:v>
                </c:pt>
                <c:pt idx="7">
                  <c:v>8.920467958426908</c:v>
                </c:pt>
                <c:pt idx="8">
                  <c:v>10.9364039386582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E$2:$E$10</c:f>
              <c:numCache>
                <c:formatCode>General</c:formatCode>
                <c:ptCount val="9"/>
                <c:pt idx="1">
                  <c:v>10.1141549000688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F$2:$F$10</c:f>
              <c:numCache>
                <c:formatCode>General</c:formatCode>
                <c:ptCount val="9"/>
                <c:pt idx="0">
                  <c:v>8.9206005053423709</c:v>
                </c:pt>
                <c:pt idx="5">
                  <c:v>5.14766401159093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G$2:$G$10</c:f>
              <c:numCache>
                <c:formatCode>General</c:formatCode>
                <c:ptCount val="9"/>
                <c:pt idx="0">
                  <c:v>9.8594769044577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51304115476038</c:v>
                </c:pt>
                <c:pt idx="1">
                  <c:v>6.9292496540669823</c:v>
                </c:pt>
                <c:pt idx="3">
                  <c:v>9.9504656216811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01962306983095</c:v>
                </c:pt>
                <c:pt idx="3">
                  <c:v>10.452278061467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2275518051843051</c:v>
                </c:pt>
                <c:pt idx="1">
                  <c:v>5.9453493004196822</c:v>
                </c:pt>
                <c:pt idx="3">
                  <c:v>14.558258516301718</c:v>
                </c:pt>
                <c:pt idx="4">
                  <c:v>5.99686277948967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094266513289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529264793551858</c:v>
                </c:pt>
                <c:pt idx="2">
                  <c:v>23.752260294244007</c:v>
                </c:pt>
                <c:pt idx="3">
                  <c:v>17.775174891283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7507487330135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5873652936500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8.7102506142506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44614564290067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B$2:$B$9</c:f>
              <c:numCache>
                <c:formatCode>General</c:formatCode>
                <c:ptCount val="8"/>
                <c:pt idx="1">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C$2:$C$9</c:f>
              <c:numCache>
                <c:formatCode>General</c:formatCode>
                <c:ptCount val="8"/>
                <c:pt idx="2">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D$2:$D$9</c:f>
              <c:numCache>
                <c:formatCode>General</c:formatCode>
                <c:ptCount val="8"/>
                <c:pt idx="7">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F$2:$F$9</c:f>
              <c:numCache>
                <c:formatCode>General</c:formatCode>
                <c:ptCount val="8"/>
                <c:pt idx="0">
                  <c:v>9.4492474417579579</c:v>
                </c:pt>
                <c:pt idx="1">
                  <c:v>9.92895307893874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G$2:$G$9</c:f>
              <c:numCache>
                <c:formatCode>General</c:formatCode>
                <c:ptCount val="8"/>
                <c:pt idx="0">
                  <c:v>8.08390003559452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H$2:$H$9</c:f>
              <c:numCache>
                <c:formatCode>General</c:formatCode>
                <c:ptCount val="8"/>
                <c:pt idx="6">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I$2:$I$9</c:f>
              <c:numCache>
                <c:formatCode>General</c:formatCode>
                <c:ptCount val="8"/>
                <c:pt idx="0">
                  <c:v>17.649350045683459</c:v>
                </c:pt>
                <c:pt idx="2">
                  <c:v>5.4212462057709212</c:v>
                </c:pt>
                <c:pt idx="3">
                  <c:v>14.519237344381649</c:v>
                </c:pt>
                <c:pt idx="5">
                  <c:v>11.35090851324568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J$2:$J$9</c:f>
              <c:numCache>
                <c:formatCode>General</c:formatCode>
                <c:ptCount val="8"/>
                <c:pt idx="0">
                  <c:v>22.557898246982266</c:v>
                </c:pt>
                <c:pt idx="3">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K$2:$K$9</c:f>
              <c:numCache>
                <c:formatCode>General</c:formatCode>
                <c:ptCount val="8"/>
                <c:pt idx="0">
                  <c:v>19.669781417443183</c:v>
                </c:pt>
                <c:pt idx="4">
                  <c:v>22.60552110422084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B$2:$B$6</c:f>
              <c:numCache>
                <c:formatCode>General</c:formatCode>
                <c:ptCount val="5"/>
                <c:pt idx="3">
                  <c:v>18.910897715699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C$2:$C$6</c:f>
              <c:numCache>
                <c:formatCode>General</c:formatCode>
                <c:ptCount val="5"/>
                <c:pt idx="0">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D$2:$D$6</c:f>
              <c:numCache>
                <c:formatCode>General</c:formatCode>
                <c:ptCount val="5"/>
                <c:pt idx="0">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E$2:$E$6</c:f>
              <c:numCache>
                <c:formatCode>General</c:formatCode>
                <c:ptCount val="5"/>
                <c:pt idx="4">
                  <c:v>13.954494553598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F$2:$F$6</c:f>
              <c:numCache>
                <c:formatCode>General</c:formatCode>
                <c:ptCount val="5"/>
                <c:pt idx="0">
                  <c:v>7.14355420817092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G$2:$G$6</c:f>
              <c:numCache>
                <c:formatCode>General</c:formatCode>
                <c:ptCount val="5"/>
                <c:pt idx="0">
                  <c:v>6.6433171864511333</c:v>
                </c:pt>
                <c:pt idx="1">
                  <c:v>21.267726676077967</c:v>
                </c:pt>
                <c:pt idx="2">
                  <c:v>20.30199858410934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H$2:$H$6</c:f>
              <c:numCache>
                <c:formatCode>General</c:formatCode>
                <c:ptCount val="5"/>
                <c:pt idx="0">
                  <c:v>10.364196847876865</c:v>
                </c:pt>
                <c:pt idx="1">
                  <c:v>16.6061572956191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CD7B6D-B5C9-479F-BEB4-56D12F85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D42B6C-F588-4C1C-8243-C8EE81984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633DFB-4C64-4A7F-904D-076E575A6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325B84-CF49-4EC1-9496-AFA932465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8631B8-1E74-4211-88C4-AACCC9C51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DC550B-BFD3-481E-AA87-726EA53C0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5EF415-945A-4837-A8C5-2C9016924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284D57-63D5-43E1-9602-695D6A63C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66309631889999</c:v>
                </c:pt>
                <c:pt idx="1">
                  <c:v>10.684905724171349</c:v>
                </c:pt>
                <c:pt idx="2">
                  <c:v>12.387720575030951</c:v>
                </c:pt>
                <c:pt idx="3">
                  <c:v>10.40851935216368</c:v>
                </c:pt>
                <c:pt idx="4">
                  <c:v>12.785266785846581</c:v>
                </c:pt>
                <c:pt idx="5">
                  <c:v>7.0000800093877684</c:v>
                </c:pt>
                <c:pt idx="6">
                  <c:v>10.811830455696789</c:v>
                </c:pt>
                <c:pt idx="7">
                  <c:v>8.4193580868470743</c:v>
                </c:pt>
              </c:numCache>
            </c:numRef>
          </c:xVal>
          <c:yVal>
            <c:numRef>
              <c:f>Sheet1!$B$2:$B$9</c:f>
              <c:numCache>
                <c:formatCode>General</c:formatCode>
                <c:ptCount val="8"/>
                <c:pt idx="0">
                  <c:v>1.3339387248685901</c:v>
                </c:pt>
                <c:pt idx="1">
                  <c:v>0.85292570017108338</c:v>
                </c:pt>
                <c:pt idx="2">
                  <c:v>1.132917971277873</c:v>
                </c:pt>
                <c:pt idx="3">
                  <c:v>0.75365320813557135</c:v>
                </c:pt>
                <c:pt idx="4">
                  <c:v>1.3384541843023769</c:v>
                </c:pt>
                <c:pt idx="5">
                  <c:v>0.52493818308074347</c:v>
                </c:pt>
                <c:pt idx="6">
                  <c:v>0.88009587165994485</c:v>
                </c:pt>
                <c:pt idx="7">
                  <c:v>0.30823380587570642</c:v>
                </c:pt>
              </c:numCache>
            </c:numRef>
          </c:yVal>
          <c:bubbleSize>
            <c:numRef>
              <c:f>Sheet1!$C$2:$C$9</c:f>
              <c:numCache>
                <c:formatCode>General</c:formatCode>
                <c:ptCount val="8"/>
                <c:pt idx="0">
                  <c:v>12137075</c:v>
                </c:pt>
                <c:pt idx="1">
                  <c:v>4740305</c:v>
                </c:pt>
                <c:pt idx="2">
                  <c:v>3931974</c:v>
                </c:pt>
                <c:pt idx="3">
                  <c:v>3690174</c:v>
                </c:pt>
                <c:pt idx="4">
                  <c:v>3175400</c:v>
                </c:pt>
                <c:pt idx="5">
                  <c:v>1312361</c:v>
                </c:pt>
                <c:pt idx="6">
                  <c:v>930531</c:v>
                </c:pt>
                <c:pt idx="7">
                  <c:v>33445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B$2:$B$6</c:f>
              <c:numCache>
                <c:formatCode>General</c:formatCode>
                <c:ptCount val="5"/>
                <c:pt idx="0">
                  <c:v>14.620064117601064</c:v>
                </c:pt>
                <c:pt idx="2">
                  <c:v>9.2311650128629186</c:v>
                </c:pt>
                <c:pt idx="4">
                  <c:v>6.5227420744133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C$2:$C$6</c:f>
              <c:numCache>
                <c:formatCode>General</c:formatCode>
                <c:ptCount val="5"/>
                <c:pt idx="1">
                  <c:v>9.3316875615147552</c:v>
                </c:pt>
                <c:pt idx="2">
                  <c:v>10.1500851507993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D$2:$D$6</c:f>
              <c:numCache>
                <c:formatCode>General</c:formatCode>
                <c:ptCount val="5"/>
                <c:pt idx="0">
                  <c:v>7.5380223847713053</c:v>
                </c:pt>
                <c:pt idx="1">
                  <c:v>13.745520393906922</c:v>
                </c:pt>
                <c:pt idx="3">
                  <c:v>14.5972953167677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E$2:$E$6</c:f>
              <c:numCache>
                <c:formatCode>General</c:formatCode>
                <c:ptCount val="5"/>
                <c:pt idx="0">
                  <c:v>6.670047634074141</c:v>
                </c:pt>
                <c:pt idx="1">
                  <c:v>15.960438617314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F$2:$F$6</c:f>
              <c:numCache>
                <c:formatCode>General</c:formatCode>
                <c:ptCount val="5"/>
                <c:pt idx="0">
                  <c:v>15.737547265852239</c:v>
                </c:pt>
                <c:pt idx="1">
                  <c:v>16.4902934982890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G$2:$G$6</c:f>
              <c:numCache>
                <c:formatCode>General</c:formatCode>
                <c:ptCount val="5"/>
                <c:pt idx="2">
                  <c:v>24.8419744906410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H$2:$H$6</c:f>
              <c:numCache>
                <c:formatCode>General</c:formatCode>
                <c:ptCount val="5"/>
                <c:pt idx="1">
                  <c:v>25.91693621425799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5255485120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281849527009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360949472549663</c:v>
                </c:pt>
                <c:pt idx="1">
                  <c:v>11.537165123005963</c:v>
                </c:pt>
                <c:pt idx="2">
                  <c:v>11.894361509936294</c:v>
                </c:pt>
                <c:pt idx="4">
                  <c:v>14.003697792563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191203240274012</c:v>
                </c:pt>
                <c:pt idx="4">
                  <c:v>19.147705750145207</c:v>
                </c:pt>
                <c:pt idx="5">
                  <c:v>12.1067119909351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464510902771517</c:v>
                </c:pt>
                <c:pt idx="1">
                  <c:v>12.001885592593688</c:v>
                </c:pt>
                <c:pt idx="2">
                  <c:v>10.852938763026565</c:v>
                </c:pt>
                <c:pt idx="3">
                  <c:v>8.0445478940106678</c:v>
                </c:pt>
                <c:pt idx="5">
                  <c:v>20.730606637074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335647989588328</c:v>
                </c:pt>
                <c:pt idx="4">
                  <c:v>28.308864318553137</c:v>
                </c:pt>
                <c:pt idx="5">
                  <c:v>20.06327785817655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7.720908722109534</c:v>
                </c:pt>
                <c:pt idx="1">
                  <c:v>18.26923076923077</c:v>
                </c:pt>
                <c:pt idx="2">
                  <c:v>19.8133503297134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B$2:$B$10</c:f>
              <c:numCache>
                <c:formatCode>General</c:formatCode>
                <c:ptCount val="9"/>
                <c:pt idx="7">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C$2:$C$10</c:f>
              <c:numCache>
                <c:formatCode>General</c:formatCode>
                <c:ptCount val="9"/>
                <c:pt idx="0">
                  <c:v>19.824299210159516</c:v>
                </c:pt>
                <c:pt idx="3">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D$2:$D$10</c:f>
              <c:numCache>
                <c:formatCode>General</c:formatCode>
                <c:ptCount val="9"/>
                <c:pt idx="2">
                  <c:v>7.1250459018801413</c:v>
                </c:pt>
                <c:pt idx="4">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E$2:$E$10</c:f>
              <c:numCache>
                <c:formatCode>General</c:formatCode>
                <c:ptCount val="9"/>
                <c:pt idx="0">
                  <c:v>8.0810681713965451</c:v>
                </c:pt>
                <c:pt idx="1">
                  <c:v>5.969746647813821</c:v>
                </c:pt>
                <c:pt idx="4">
                  <c:v>8.0151432445281827</c:v>
                </c:pt>
                <c:pt idx="5">
                  <c:v>6.2132192237789585</c:v>
                </c:pt>
                <c:pt idx="6">
                  <c:v>13.194838305676075</c:v>
                </c:pt>
                <c:pt idx="8">
                  <c:v>13.0298675683291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F$2:$F$10</c:f>
              <c:numCache>
                <c:formatCode>General</c:formatCode>
                <c:ptCount val="9"/>
                <c:pt idx="0">
                  <c:v>14.8934397371200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519403082978027</c:v>
                </c:pt>
                <c:pt idx="1">
                  <c:v>12.19901959291793</c:v>
                </c:pt>
                <c:pt idx="4">
                  <c:v>14.0838863028622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33636904203048</c:v>
                </c:pt>
                <c:pt idx="2">
                  <c:v>14.0701271716336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215765966949531</c:v>
                </c:pt>
                <c:pt idx="1">
                  <c:v>18.61519997978726</c:v>
                </c:pt>
                <c:pt idx="3">
                  <c:v>8.19585562737760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94091779558833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89229061582342</c:v>
                </c:pt>
                <c:pt idx="2">
                  <c:v>28.45653786303282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553106682297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913694050439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4.04815148782687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B$2:$B$8</c:f>
              <c:numCache>
                <c:formatCode>General</c:formatCode>
                <c:ptCount val="7"/>
                <c:pt idx="1">
                  <c:v>2.5014496178996297</c:v>
                </c:pt>
                <c:pt idx="4">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C$2:$C$8</c:f>
              <c:numCache>
                <c:formatCode>General</c:formatCode>
                <c:ptCount val="7"/>
                <c:pt idx="4">
                  <c:v>5.0124115323580174</c:v>
                </c:pt>
                <c:pt idx="6">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D$2:$D$8</c:f>
              <c:numCache>
                <c:formatCode>General</c:formatCode>
                <c:ptCount val="7"/>
                <c:pt idx="0">
                  <c:v>9.8532497286868441</c:v>
                </c:pt>
                <c:pt idx="2">
                  <c:v>6.8747077681183768</c:v>
                </c:pt>
                <c:pt idx="3">
                  <c:v>9.9210495405549484</c:v>
                </c:pt>
                <c:pt idx="5">
                  <c:v>9.28891497896487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E$2:$E$8</c:f>
              <c:numCache>
                <c:formatCode>General</c:formatCode>
                <c:ptCount val="7"/>
                <c:pt idx="0">
                  <c:v>6.1456105819477829</c:v>
                </c:pt>
                <c:pt idx="1">
                  <c:v>4.7976955141357642</c:v>
                </c:pt>
                <c:pt idx="2">
                  <c:v>4.71079289191857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F$2:$F$8</c:f>
              <c:numCache>
                <c:formatCode>General</c:formatCode>
                <c:ptCount val="7"/>
                <c:pt idx="0">
                  <c:v>10.164941171453094</c:v>
                </c:pt>
                <c:pt idx="1">
                  <c:v>4.714737909118611</c:v>
                </c:pt>
                <c:pt idx="2">
                  <c:v>7.0784129324149152</c:v>
                </c:pt>
                <c:pt idx="3">
                  <c:v>9.9828078170546455</c:v>
                </c:pt>
                <c:pt idx="5">
                  <c:v>9.987692847448551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G$2:$G$8</c:f>
              <c:numCache>
                <c:formatCode>General</c:formatCode>
                <c:ptCount val="7"/>
                <c:pt idx="0">
                  <c:v>19.362726012053976</c:v>
                </c:pt>
                <c:pt idx="1">
                  <c:v>8.51610971582717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H$2:$H$8</c:f>
              <c:numCache>
                <c:formatCode>General</c:formatCode>
                <c:ptCount val="7"/>
                <c:pt idx="0">
                  <c:v>4.5804019356405439</c:v>
                </c:pt>
                <c:pt idx="2">
                  <c:v>8.5996587354251588</c:v>
                </c:pt>
                <c:pt idx="3">
                  <c:v>17.0263762005153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B$2:$B$10</c:f>
              <c:numCache>
                <c:formatCode>General</c:formatCode>
                <c:ptCount val="9"/>
                <c:pt idx="0">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C$2:$C$10</c:f>
              <c:numCache>
                <c:formatCode>General</c:formatCode>
                <c:ptCount val="9"/>
                <c:pt idx="4">
                  <c:v>6.0071597770139098</c:v>
                </c:pt>
                <c:pt idx="5">
                  <c:v>2.9525438806582955</c:v>
                </c:pt>
                <c:pt idx="6">
                  <c:v>13.7988800746616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D$2:$D$10</c:f>
              <c:numCache>
                <c:formatCode>General</c:formatCode>
                <c:ptCount val="9"/>
                <c:pt idx="0">
                  <c:v>6.5582489312474141</c:v>
                </c:pt>
                <c:pt idx="2">
                  <c:v>5.3926525301864832</c:v>
                </c:pt>
                <c:pt idx="3">
                  <c:v>2.6922710260574818</c:v>
                </c:pt>
                <c:pt idx="7">
                  <c:v>4.9874461613831675</c:v>
                </c:pt>
                <c:pt idx="8">
                  <c:v>2.80283670599743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E$2:$E$10</c:f>
              <c:numCache>
                <c:formatCode>General</c:formatCode>
                <c:ptCount val="9"/>
                <c:pt idx="6">
                  <c:v>9.50957949738740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F$2:$F$10</c:f>
              <c:numCache>
                <c:formatCode>General</c:formatCode>
                <c:ptCount val="9"/>
                <c:pt idx="0">
                  <c:v>9.0000343159122878</c:v>
                </c:pt>
                <c:pt idx="1">
                  <c:v>5.213390607841870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G$2:$G$10</c:f>
              <c:numCache>
                <c:formatCode>General</c:formatCode>
                <c:ptCount val="9"/>
                <c:pt idx="0">
                  <c:v>9.7821270310192023</c:v>
                </c:pt>
                <c:pt idx="8">
                  <c:v>4.5990764063811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116675077876199</c:v>
                </c:pt>
                <c:pt idx="1">
                  <c:v>6.9656560049954903</c:v>
                </c:pt>
                <c:pt idx="3">
                  <c:v>9.97059624285325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74888965531804</c:v>
                </c:pt>
                <c:pt idx="3">
                  <c:v>10.5803565422132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6590170629878376</c:v>
                </c:pt>
                <c:pt idx="1">
                  <c:v>6.0555181711885844</c:v>
                </c:pt>
                <c:pt idx="3">
                  <c:v>14.630790903602334</c:v>
                </c:pt>
                <c:pt idx="4">
                  <c:v>6.06459501808543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81391698357472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4.958289159295536</c:v>
                </c:pt>
                <c:pt idx="2">
                  <c:v>24.027859237536656</c:v>
                </c:pt>
                <c:pt idx="3">
                  <c:v>17.8469431749590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45804458545545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10.05713373163491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1842424242424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59595635430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1518828451882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648F6E-FD00-46D0-93F2-DA8B120BB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304A57-1063-4DC0-9062-2D50CCACE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9C30F4-27C2-484C-8CE0-BAC753BB1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5D02BE-30CF-4A47-B97C-34F3C0829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F7EBF0-8F84-4D4E-B7DD-75D3622CE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CF828C-C950-45D0-8EE6-8F269422C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C9EA91-4D6B-48C6-9B25-EF4037A4B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D77A393-706E-4C7E-B081-6991ABF92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0927551170032004</c:v>
                </c:pt>
                <c:pt idx="1">
                  <c:v>6.3371917655727614</c:v>
                </c:pt>
                <c:pt idx="2">
                  <c:v>4.1682414178528617</c:v>
                </c:pt>
                <c:pt idx="3">
                  <c:v>3.889627252928749</c:v>
                </c:pt>
                <c:pt idx="4">
                  <c:v>6.8381351446718419</c:v>
                </c:pt>
                <c:pt idx="5">
                  <c:v>15.038000979911811</c:v>
                </c:pt>
                <c:pt idx="6">
                  <c:v>11.38821208158396</c:v>
                </c:pt>
              </c:numCache>
            </c:numRef>
          </c:xVal>
          <c:yVal>
            <c:numRef>
              <c:f>Sheet1!$B$2:$B$8</c:f>
              <c:numCache>
                <c:formatCode>General</c:formatCode>
                <c:ptCount val="7"/>
                <c:pt idx="0">
                  <c:v>1.7055753056620699</c:v>
                </c:pt>
                <c:pt idx="1">
                  <c:v>1.6080088813495921</c:v>
                </c:pt>
                <c:pt idx="2">
                  <c:v>0.93306129515564917</c:v>
                </c:pt>
                <c:pt idx="3">
                  <c:v>0.26714072245692672</c:v>
                </c:pt>
                <c:pt idx="4">
                  <c:v>1.3582977876876761</c:v>
                </c:pt>
                <c:pt idx="5">
                  <c:v>0.78853342219581968</c:v>
                </c:pt>
                <c:pt idx="6">
                  <c:v>3.1926482655453601</c:v>
                </c:pt>
              </c:numCache>
            </c:numRef>
          </c:yVal>
          <c:bubbleSize>
            <c:numRef>
              <c:f>Sheet1!$C$2:$C$8</c:f>
              <c:numCache>
                <c:formatCode>General</c:formatCode>
                <c:ptCount val="7"/>
                <c:pt idx="0">
                  <c:v>9867753</c:v>
                </c:pt>
                <c:pt idx="1">
                  <c:v>6802931</c:v>
                </c:pt>
                <c:pt idx="2">
                  <c:v>5347662</c:v>
                </c:pt>
                <c:pt idx="3">
                  <c:v>2505764</c:v>
                </c:pt>
                <c:pt idx="4">
                  <c:v>775171</c:v>
                </c:pt>
                <c:pt idx="5">
                  <c:v>767314</c:v>
                </c:pt>
                <c:pt idx="6">
                  <c:v>49637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B$2:$B$9</c:f>
              <c:numCache>
                <c:formatCode>General</c:formatCode>
                <c:ptCount val="8"/>
                <c:pt idx="1">
                  <c:v>2.4908662938075885</c:v>
                </c:pt>
                <c:pt idx="4">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C$2:$C$9</c:f>
              <c:numCache>
                <c:formatCode>General</c:formatCode>
                <c:ptCount val="8"/>
                <c:pt idx="4">
                  <c:v>4.9796018276762402</c:v>
                </c:pt>
                <c:pt idx="6">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D$2:$D$9</c:f>
              <c:numCache>
                <c:formatCode>General</c:formatCode>
                <c:ptCount val="8"/>
                <c:pt idx="0">
                  <c:v>9.3125106799613899</c:v>
                </c:pt>
                <c:pt idx="1">
                  <c:v>5.7393327280980477</c:v>
                </c:pt>
                <c:pt idx="2">
                  <c:v>6.6700381004752742</c:v>
                </c:pt>
                <c:pt idx="3">
                  <c:v>9.9684294909579609</c:v>
                </c:pt>
                <c:pt idx="5">
                  <c:v>9.05082295892199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E$2:$E$9</c:f>
              <c:numCache>
                <c:formatCode>General</c:formatCode>
                <c:ptCount val="8"/>
                <c:pt idx="0">
                  <c:v>5.8637974256375642</c:v>
                </c:pt>
                <c:pt idx="1">
                  <c:v>5.0709678066593762</c:v>
                </c:pt>
                <c:pt idx="2">
                  <c:v>4.53117099751640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F$2:$F$9</c:f>
              <c:numCache>
                <c:formatCode>General</c:formatCode>
                <c:ptCount val="8"/>
                <c:pt idx="0">
                  <c:v>11.441161788903473</c:v>
                </c:pt>
                <c:pt idx="1">
                  <c:v>4.5401325743929677</c:v>
                </c:pt>
                <c:pt idx="2">
                  <c:v>5.9466333223234082</c:v>
                </c:pt>
                <c:pt idx="3">
                  <c:v>9.9699122517164156</c:v>
                </c:pt>
                <c:pt idx="5">
                  <c:v>9.5980064222638486</c:v>
                </c:pt>
                <c:pt idx="7">
                  <c:v>14.5002883173797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G$2:$G$9</c:f>
              <c:numCache>
                <c:formatCode>General</c:formatCode>
                <c:ptCount val="8"/>
                <c:pt idx="1">
                  <c:v>1.0648497923612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H$2:$H$9</c:f>
              <c:numCache>
                <c:formatCode>General</c:formatCode>
                <c:ptCount val="8"/>
                <c:pt idx="0">
                  <c:v>19.469513843302312</c:v>
                </c:pt>
                <c:pt idx="1">
                  <c:v>8.95144777338106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I$2:$I$9</c:f>
              <c:numCache>
                <c:formatCode>General</c:formatCode>
                <c:ptCount val="8"/>
                <c:pt idx="0">
                  <c:v>4.1146598139990207</c:v>
                </c:pt>
                <c:pt idx="2">
                  <c:v>8.474020337301587</c:v>
                </c:pt>
                <c:pt idx="5">
                  <c:v>16.89414016489988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B$2:$B$9</c:f>
              <c:numCache>
                <c:formatCode>General</c:formatCode>
                <c:ptCount val="8"/>
                <c:pt idx="0">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C$2:$C$9</c:f>
              <c:numCache>
                <c:formatCode>General</c:formatCode>
                <c:ptCount val="8"/>
                <c:pt idx="3">
                  <c:v>5.9771505376344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D$2:$D$9</c:f>
              <c:numCache>
                <c:formatCode>General</c:formatCode>
                <c:ptCount val="8"/>
                <c:pt idx="0">
                  <c:v>6.1048511425537013</c:v>
                </c:pt>
                <c:pt idx="2">
                  <c:v>5.1512060063355865</c:v>
                </c:pt>
                <c:pt idx="4">
                  <c:v>2.6700748648273951</c:v>
                </c:pt>
                <c:pt idx="6">
                  <c:v>7.7800548652573829</c:v>
                </c:pt>
                <c:pt idx="7">
                  <c:v>4.92434930673802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E$2:$E$9</c:f>
              <c:numCache>
                <c:formatCode>General</c:formatCode>
                <c:ptCount val="8"/>
                <c:pt idx="5">
                  <c:v>6.97152582313281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F$2:$F$9</c:f>
              <c:numCache>
                <c:formatCode>General</c:formatCode>
                <c:ptCount val="8"/>
                <c:pt idx="0">
                  <c:v>8.3586348122866898</c:v>
                </c:pt>
                <c:pt idx="1">
                  <c:v>4.949108395111200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0.058157157902849</c:v>
                </c:pt>
                <c:pt idx="1">
                  <c:v>6.9206303240908325</c:v>
                </c:pt>
                <c:pt idx="3">
                  <c:v>9.9540255266528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81370151612054</c:v>
                </c:pt>
                <c:pt idx="3">
                  <c:v>10.4480888103948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7.4300926430517711</c:v>
                </c:pt>
                <c:pt idx="1">
                  <c:v>5.6801884776259151</c:v>
                </c:pt>
                <c:pt idx="3">
                  <c:v>14.567594976207193</c:v>
                </c:pt>
                <c:pt idx="4">
                  <c:v>5.98484805892109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4737976210998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3.960481789503872</c:v>
                </c:pt>
                <c:pt idx="2">
                  <c:v>23.4117647058823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8.07290830255339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6858015425229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95761935354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82850387639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495123865037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859747607625078</c:v>
                </c:pt>
                <c:pt idx="6">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138022019473324</c:v>
                </c:pt>
                <c:pt idx="2">
                  <c:v>9.9166174496644288</c:v>
                </c:pt>
                <c:pt idx="3">
                  <c:v>6.8469072801349853</c:v>
                </c:pt>
                <c:pt idx="4">
                  <c:v>9.29345813618597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948397063737023</c:v>
                </c:pt>
                <c:pt idx="1">
                  <c:v>4.733444665996756</c:v>
                </c:pt>
                <c:pt idx="3">
                  <c:v>4.66695625667773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142655098820486</c:v>
                </c:pt>
                <c:pt idx="1">
                  <c:v>4.7835952661141103</c:v>
                </c:pt>
                <c:pt idx="2">
                  <c:v>9.9700878895583678</c:v>
                </c:pt>
                <c:pt idx="3">
                  <c:v>7.0778544735276965</c:v>
                </c:pt>
                <c:pt idx="4">
                  <c:v>9.70051907530846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20.046679296109328</c:v>
                </c:pt>
                <c:pt idx="1">
                  <c:v>8.40028384908291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8102392304905095</c:v>
                </c:pt>
                <c:pt idx="2">
                  <c:v>16.878084570680546</c:v>
                </c:pt>
                <c:pt idx="3">
                  <c:v>8.4959867126685857</c:v>
                </c:pt>
                <c:pt idx="4">
                  <c:v>16.90055311757176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B$2:$B$10</c:f>
              <c:numCache>
                <c:formatCode>General</c:formatCode>
                <c:ptCount val="9"/>
                <c:pt idx="0">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C$2:$C$10</c:f>
              <c:numCache>
                <c:formatCode>General</c:formatCode>
                <c:ptCount val="9"/>
                <c:pt idx="1">
                  <c:v>10.797379281154104</c:v>
                </c:pt>
                <c:pt idx="4">
                  <c:v>5.98072977306128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D$2:$D$10</c:f>
              <c:numCache>
                <c:formatCode>General</c:formatCode>
                <c:ptCount val="9"/>
                <c:pt idx="0">
                  <c:v>6.4474715766941229</c:v>
                </c:pt>
                <c:pt idx="2">
                  <c:v>5.4104396680493076</c:v>
                </c:pt>
                <c:pt idx="3">
                  <c:v>4.959325730093104</c:v>
                </c:pt>
                <c:pt idx="5">
                  <c:v>2.6721057101561616</c:v>
                </c:pt>
                <c:pt idx="7">
                  <c:v>8.9352498806549416</c:v>
                </c:pt>
                <c:pt idx="8">
                  <c:v>10.9336290155440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E$2:$E$10</c:f>
              <c:numCache>
                <c:formatCode>General</c:formatCode>
                <c:ptCount val="9"/>
                <c:pt idx="1">
                  <c:v>10.3818168065955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F$2:$F$10</c:f>
              <c:numCache>
                <c:formatCode>General</c:formatCode>
                <c:ptCount val="9"/>
                <c:pt idx="0">
                  <c:v>8.9512200169705505</c:v>
                </c:pt>
                <c:pt idx="6">
                  <c:v>5.16432486910351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G$2:$G$10</c:f>
              <c:numCache>
                <c:formatCode>General</c:formatCode>
                <c:ptCount val="9"/>
                <c:pt idx="0">
                  <c:v>9.87935609756097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650330494129028</c:v>
                </c:pt>
                <c:pt idx="1">
                  <c:v>6.9237867830545961</c:v>
                </c:pt>
                <c:pt idx="3">
                  <c:v>9.94736842105263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70396262773135</c:v>
                </c:pt>
                <c:pt idx="3">
                  <c:v>10.4341730866013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4487558950443891</c:v>
                </c:pt>
                <c:pt idx="1">
                  <c:v>5.9475231694065043</c:v>
                </c:pt>
                <c:pt idx="3">
                  <c:v>14.546599526785172</c:v>
                </c:pt>
                <c:pt idx="4">
                  <c:v>5.98631169914894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2555128464495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720328058455367</c:v>
                </c:pt>
                <c:pt idx="2">
                  <c:v>23.734806143554987</c:v>
                </c:pt>
                <c:pt idx="3">
                  <c:v>17.7681254222384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412904023237130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41293868106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032230703986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4799382716049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B$2:$B$9</c:f>
              <c:numCache>
                <c:formatCode>General</c:formatCode>
                <c:ptCount val="8"/>
                <c:pt idx="6">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C$2:$C$9</c:f>
              <c:numCache>
                <c:formatCode>General</c:formatCode>
                <c:ptCount val="8"/>
                <c:pt idx="0">
                  <c:v>11.2126919140225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D$2:$D$9</c:f>
              <c:numCache>
                <c:formatCode>General</c:formatCode>
                <c:ptCount val="8"/>
                <c:pt idx="0">
                  <c:v>13.315361390104135</c:v>
                </c:pt>
                <c:pt idx="1">
                  <c:v>11.798405759835433</c:v>
                </c:pt>
                <c:pt idx="2">
                  <c:v>11.62807312460601</c:v>
                </c:pt>
                <c:pt idx="3">
                  <c:v>14.051446945337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E$2:$E$9</c:f>
              <c:numCache>
                <c:formatCode>General</c:formatCode>
                <c:ptCount val="8"/>
                <c:pt idx="0">
                  <c:v>9.4046275395033856</c:v>
                </c:pt>
                <c:pt idx="3">
                  <c:v>19.517814726840854</c:v>
                </c:pt>
                <c:pt idx="5">
                  <c:v>12.3692191053828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F$2:$F$9</c:f>
              <c:numCache>
                <c:formatCode>General</c:formatCode>
                <c:ptCount val="8"/>
                <c:pt idx="0">
                  <c:v>15.873784592370979</c:v>
                </c:pt>
                <c:pt idx="1">
                  <c:v>10.673902069661787</c:v>
                </c:pt>
                <c:pt idx="2">
                  <c:v>12.10787269681742</c:v>
                </c:pt>
                <c:pt idx="4">
                  <c:v>8.1368404066483784</c:v>
                </c:pt>
                <c:pt idx="5">
                  <c:v>20.9390070921985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G$2:$G$9</c:f>
              <c:numCache>
                <c:formatCode>General</c:formatCode>
                <c:ptCount val="8"/>
                <c:pt idx="7">
                  <c:v>12.815476190476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H$2:$H$9</c:f>
              <c:numCache>
                <c:formatCode>General</c:formatCode>
                <c:ptCount val="8"/>
                <c:pt idx="0">
                  <c:v>26.007290867229472</c:v>
                </c:pt>
                <c:pt idx="3">
                  <c:v>28.4287856071964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I$2:$I$9</c:f>
              <c:numCache>
                <c:formatCode>General</c:formatCode>
                <c:ptCount val="8"/>
                <c:pt idx="0">
                  <c:v>19.697813121272365</c:v>
                </c:pt>
                <c:pt idx="1">
                  <c:v>19.742857142857144</c:v>
                </c:pt>
                <c:pt idx="2">
                  <c:v>18.40680713128038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B$2:$B$10</c:f>
              <c:numCache>
                <c:formatCode>General</c:formatCode>
                <c:ptCount val="9"/>
                <c:pt idx="8">
                  <c:v>8.33387622149837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C$2:$C$10</c:f>
              <c:numCache>
                <c:formatCode>General</c:formatCode>
                <c:ptCount val="9"/>
                <c:pt idx="0">
                  <c:v>19.496191512513601</c:v>
                </c:pt>
                <c:pt idx="2">
                  <c:v>31.1261425959780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D$2:$D$10</c:f>
              <c:numCache>
                <c:formatCode>General</c:formatCode>
                <c:ptCount val="9"/>
                <c:pt idx="3">
                  <c:v>7.1403805496828756</c:v>
                </c:pt>
                <c:pt idx="4">
                  <c:v>15.382133995037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E$2:$E$10</c:f>
              <c:numCache>
                <c:formatCode>General</c:formatCode>
                <c:ptCount val="9"/>
                <c:pt idx="0">
                  <c:v>7.8488865323435846</c:v>
                </c:pt>
                <c:pt idx="1">
                  <c:v>6.152268907563025</c:v>
                </c:pt>
                <c:pt idx="4">
                  <c:v>8.0543293718166389</c:v>
                </c:pt>
                <c:pt idx="5">
                  <c:v>6.5386199794026778</c:v>
                </c:pt>
                <c:pt idx="6">
                  <c:v>13.312087912087913</c:v>
                </c:pt>
                <c:pt idx="7">
                  <c:v>13.4137168141592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F$2:$F$10</c:f>
              <c:numCache>
                <c:formatCode>General</c:formatCode>
                <c:ptCount val="9"/>
                <c:pt idx="0">
                  <c:v>15.24338624338624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6CED46-13D8-4351-B409-BFD2BF732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E9B3C7-DB29-4CEB-8337-4364122E2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645932-BADE-43ED-ACA7-DD2110675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241D29-4DA3-4BCB-91F1-F05251975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EB2219-98D6-482E-B2A7-26AE732A5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E8323B-3D14-4605-8B96-592FA6F2A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C4BF34-ED11-4CF1-9D3F-61EFCFA5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67C3D-3FDB-46A4-BB45-EF651567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707007553355069</c:v>
                </c:pt>
                <c:pt idx="1">
                  <c:v>10.920943035514551</c:v>
                </c:pt>
                <c:pt idx="2">
                  <c:v>12.863604623040951</c:v>
                </c:pt>
                <c:pt idx="3">
                  <c:v>13.074744915140091</c:v>
                </c:pt>
                <c:pt idx="4">
                  <c:v>10.73430016980282</c:v>
                </c:pt>
                <c:pt idx="5">
                  <c:v>7.1901744360209232</c:v>
                </c:pt>
                <c:pt idx="6">
                  <c:v>11.140023177281281</c:v>
                </c:pt>
                <c:pt idx="7">
                  <c:v>8.4423393288001751</c:v>
                </c:pt>
              </c:numCache>
            </c:numRef>
          </c:xVal>
          <c:yVal>
            <c:numRef>
              <c:f>Sheet1!$B$2:$B$9</c:f>
              <c:numCache>
                <c:formatCode>General</c:formatCode>
                <c:ptCount val="8"/>
                <c:pt idx="0">
                  <c:v>1.3133827975420971</c:v>
                </c:pt>
                <c:pt idx="1">
                  <c:v>0.82554537111008297</c:v>
                </c:pt>
                <c:pt idx="2">
                  <c:v>1.1212420003762</c:v>
                </c:pt>
                <c:pt idx="3">
                  <c:v>1.3049609940879909</c:v>
                </c:pt>
                <c:pt idx="4">
                  <c:v>0.73514708281599983</c:v>
                </c:pt>
                <c:pt idx="5">
                  <c:v>0.51227138007457296</c:v>
                </c:pt>
                <c:pt idx="6">
                  <c:v>0.84523148102392864</c:v>
                </c:pt>
                <c:pt idx="7">
                  <c:v>0.30242817497396202</c:v>
                </c:pt>
              </c:numCache>
            </c:numRef>
          </c:yVal>
          <c:bubbleSize>
            <c:numRef>
              <c:f>Sheet1!$C$2:$C$9</c:f>
              <c:numCache>
                <c:formatCode>General</c:formatCode>
                <c:ptCount val="8"/>
                <c:pt idx="0">
                  <c:v>13055190</c:v>
                </c:pt>
                <c:pt idx="1">
                  <c:v>4130115</c:v>
                </c:pt>
                <c:pt idx="2">
                  <c:v>3776407</c:v>
                </c:pt>
                <c:pt idx="3">
                  <c:v>3106141</c:v>
                </c:pt>
                <c:pt idx="4">
                  <c:v>3097597</c:v>
                </c:pt>
                <c:pt idx="5">
                  <c:v>1248128</c:v>
                </c:pt>
                <c:pt idx="6">
                  <c:v>893998</c:v>
                </c:pt>
                <c:pt idx="7">
                  <c:v>30790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847619047619048</c:v>
                </c:pt>
                <c:pt idx="1">
                  <c:v>12.405450041288191</c:v>
                </c:pt>
                <c:pt idx="4">
                  <c:v>14.1892473118279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229934304484432</c:v>
                </c:pt>
                <c:pt idx="2">
                  <c:v>13.9862405681313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732532170583855</c:v>
                </c:pt>
                <c:pt idx="1">
                  <c:v>19.247641509433961</c:v>
                </c:pt>
                <c:pt idx="3">
                  <c:v>8.25923460898502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8.0379783815366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24637681159422</c:v>
                </c:pt>
                <c:pt idx="2">
                  <c:v>28.6307798481711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4.229429690901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3220821472143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403669724770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579946230572215</c:v>
                </c:pt>
                <c:pt idx="1">
                  <c:v>11.672558922558922</c:v>
                </c:pt>
                <c:pt idx="2">
                  <c:v>11.928302165718087</c:v>
                </c:pt>
                <c:pt idx="4">
                  <c:v>14.2695074709463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2436305019477896</c:v>
                </c:pt>
                <c:pt idx="4">
                  <c:v>19.242549143944199</c:v>
                </c:pt>
                <c:pt idx="5">
                  <c:v>12.319605695509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840873220508493</c:v>
                </c:pt>
                <c:pt idx="1">
                  <c:v>12.201212121212121</c:v>
                </c:pt>
                <c:pt idx="2">
                  <c:v>11.112033557633488</c:v>
                </c:pt>
                <c:pt idx="3">
                  <c:v>8.1090725173532388</c:v>
                </c:pt>
                <c:pt idx="5">
                  <c:v>20.5819769749900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803211552969071</c:v>
                </c:pt>
                <c:pt idx="4">
                  <c:v>28.601147776183645</c:v>
                </c:pt>
                <c:pt idx="5">
                  <c:v>20.39486286460600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8.758727535633135</c:v>
                </c:pt>
                <c:pt idx="1">
                  <c:v>18.457153642884109</c:v>
                </c:pt>
                <c:pt idx="2">
                  <c:v>19.92068300743596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B$2:$B$10</c:f>
              <c:numCache>
                <c:formatCode>General</c:formatCode>
                <c:ptCount val="9"/>
                <c:pt idx="8">
                  <c:v>8.71924482338611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C$2:$C$10</c:f>
              <c:numCache>
                <c:formatCode>General</c:formatCode>
                <c:ptCount val="9"/>
                <c:pt idx="0">
                  <c:v>19.900139860139859</c:v>
                </c:pt>
                <c:pt idx="2">
                  <c:v>31.049340498290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D$2:$D$10</c:f>
              <c:numCache>
                <c:formatCode>General</c:formatCode>
                <c:ptCount val="9"/>
                <c:pt idx="3">
                  <c:v>15.40498899486427</c:v>
                </c:pt>
                <c:pt idx="4">
                  <c:v>7.14303426510369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E$2:$E$10</c:f>
              <c:numCache>
                <c:formatCode>General</c:formatCode>
                <c:ptCount val="9"/>
                <c:pt idx="0">
                  <c:v>8.3312495176352552</c:v>
                </c:pt>
                <c:pt idx="1">
                  <c:v>6.0618384865405455</c:v>
                </c:pt>
                <c:pt idx="3">
                  <c:v>8.1088988216172293</c:v>
                </c:pt>
                <c:pt idx="5">
                  <c:v>13.361646690984887</c:v>
                </c:pt>
                <c:pt idx="6">
                  <c:v>6.2772449869224065</c:v>
                </c:pt>
                <c:pt idx="7">
                  <c:v>13.0993150684931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F$2:$F$10</c:f>
              <c:numCache>
                <c:formatCode>General</c:formatCode>
                <c:ptCount val="9"/>
                <c:pt idx="0">
                  <c:v>14.9501510574018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Hydro Silk</c:v>
                </c:pt>
                <c:pt idx="3">
                  <c:v>Skintimate</c:v>
                </c:pt>
                <c:pt idx="4">
                  <c:v>Flamingo</c:v>
                </c:pt>
              </c:strCache>
            </c:strRef>
          </c:cat>
          <c:val>
            <c:numRef>
              <c:f>Sheet1!$B$2:$B$6</c:f>
              <c:numCache>
                <c:formatCode>General</c:formatCode>
                <c:ptCount val="5"/>
                <c:pt idx="0">
                  <c:v>16.960069732691348</c:v>
                </c:pt>
                <c:pt idx="2">
                  <c:v>12.537621359223301</c:v>
                </c:pt>
                <c:pt idx="4">
                  <c:v>14.3282582216808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C$2:$C$6</c:f>
              <c:numCache>
                <c:formatCode>General</c:formatCode>
                <c:ptCount val="5"/>
                <c:pt idx="1">
                  <c:v>14.322006284184802</c:v>
                </c:pt>
                <c:pt idx="2">
                  <c:v>12.1754606036848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D$2:$D$6</c:f>
              <c:numCache>
                <c:formatCode>General</c:formatCode>
                <c:ptCount val="5"/>
                <c:pt idx="0">
                  <c:v>11.473681622618315</c:v>
                </c:pt>
                <c:pt idx="2">
                  <c:v>18.430207366140515</c:v>
                </c:pt>
                <c:pt idx="3">
                  <c:v>8.2532840399590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E$2:$E$6</c:f>
              <c:numCache>
                <c:formatCode>General</c:formatCode>
                <c:ptCount val="5"/>
                <c:pt idx="0">
                  <c:v>8.10088298685948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F$2:$F$6</c:f>
              <c:numCache>
                <c:formatCode>General</c:formatCode>
                <c:ptCount val="5"/>
                <c:pt idx="0">
                  <c:v>18.338582677165356</c:v>
                </c:pt>
                <c:pt idx="1">
                  <c:v>28.6663239074550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3496855345911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76789667896678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0.6057776801405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2.944746472297938</c:v>
                </c:pt>
                <c:pt idx="1">
                  <c:v>11.341700442151806</c:v>
                </c:pt>
                <c:pt idx="2">
                  <c:v>11.664158936527645</c:v>
                </c:pt>
                <c:pt idx="4">
                  <c:v>13.5302342695940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8.662018321403405</c:v>
                </c:pt>
                <c:pt idx="4">
                  <c:v>18.727220794058841</c:v>
                </c:pt>
                <c:pt idx="5">
                  <c:v>11.8280789628756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4.136343149038462</c:v>
                </c:pt>
                <c:pt idx="1">
                  <c:v>11.875994642716458</c:v>
                </c:pt>
                <c:pt idx="2">
                  <c:v>10.443975373790677</c:v>
                </c:pt>
                <c:pt idx="3">
                  <c:v>7.8509253350350985</c:v>
                </c:pt>
                <c:pt idx="5">
                  <c:v>20.4987012987012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5423432425680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4.816104354648882</c:v>
                </c:pt>
                <c:pt idx="4">
                  <c:v>27.657870791628753</c:v>
                </c:pt>
                <c:pt idx="5">
                  <c:v>19.9047054171609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5.454936424831713</c:v>
                </c:pt>
                <c:pt idx="1">
                  <c:v>17.952225841476658</c:v>
                </c:pt>
                <c:pt idx="2">
                  <c:v>19.284624413145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B$2:$B$10</c:f>
              <c:numCache>
                <c:formatCode>General</c:formatCode>
                <c:ptCount val="9"/>
                <c:pt idx="8">
                  <c:v>8.08025776215582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C$2:$C$10</c:f>
              <c:numCache>
                <c:formatCode>General</c:formatCode>
                <c:ptCount val="9"/>
                <c:pt idx="0">
                  <c:v>19.397680977749921</c:v>
                </c:pt>
                <c:pt idx="3">
                  <c:v>30.9776007964161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D$2:$D$10</c:f>
              <c:numCache>
                <c:formatCode>General</c:formatCode>
                <c:ptCount val="9"/>
                <c:pt idx="2">
                  <c:v>7.072611844063089</c:v>
                </c:pt>
                <c:pt idx="4">
                  <c:v>14.982289690069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E$2:$E$10</c:f>
              <c:numCache>
                <c:formatCode>General</c:formatCode>
                <c:ptCount val="9"/>
                <c:pt idx="0">
                  <c:v>7.784292356873002</c:v>
                </c:pt>
                <c:pt idx="1">
                  <c:v>5.8024876367450924</c:v>
                </c:pt>
                <c:pt idx="4">
                  <c:v>7.9426765475152568</c:v>
                </c:pt>
                <c:pt idx="5">
                  <c:v>6.0860191153589689</c:v>
                </c:pt>
                <c:pt idx="6">
                  <c:v>13.06330318895764</c:v>
                </c:pt>
                <c:pt idx="7">
                  <c:v>12.8915171288743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F$2:$F$10</c:f>
              <c:numCache>
                <c:formatCode>General</c:formatCode>
                <c:ptCount val="9"/>
                <c:pt idx="0">
                  <c:v>14.9011274934952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290550070521862</c:v>
                </c:pt>
                <c:pt idx="1">
                  <c:v>11.8268719118206</c:v>
                </c:pt>
                <c:pt idx="4">
                  <c:v>13.9335887611749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927593220338983</c:v>
                </c:pt>
                <c:pt idx="2">
                  <c:v>13.6790890269151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0.43703758145916</c:v>
                </c:pt>
                <c:pt idx="1">
                  <c:v>17.925287356321839</c:v>
                </c:pt>
                <c:pt idx="3">
                  <c:v>8.015971552555448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62135566285679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14059590316575</c:v>
                </c:pt>
                <c:pt idx="2">
                  <c:v>27.9423429428428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4.4820250757620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52552668993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AE7690-157E-45D8-B9C1-DDB4144A6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32A944-222D-4A00-8943-AE1EC0B47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A96553-D989-4B66-98EF-3F5EA8900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E38FB3-CF49-4AC6-B095-2C70E31CE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F8B4CE-F794-4632-A924-7D13610F2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A758B8-2765-4C3C-B933-608EBDB96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80A03E-D55A-4180-B9EA-AEF9F7A32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A0D205-BC6F-403F-9ED7-9DD4C7A9E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2479337244401325</c:v>
                </c:pt>
                <c:pt idx="1">
                  <c:v>6.4245668648132508</c:v>
                </c:pt>
                <c:pt idx="2">
                  <c:v>4.2266036919341161</c:v>
                </c:pt>
                <c:pt idx="3">
                  <c:v>10.316676319614791</c:v>
                </c:pt>
                <c:pt idx="4">
                  <c:v>12.357178839429981</c:v>
                </c:pt>
                <c:pt idx="5">
                  <c:v>10.766147962150219</c:v>
                </c:pt>
                <c:pt idx="6">
                  <c:v>3.8910312432622818</c:v>
                </c:pt>
                <c:pt idx="7">
                  <c:v>10.60260376676754</c:v>
                </c:pt>
                <c:pt idx="8">
                  <c:v>6.8043922552886338</c:v>
                </c:pt>
              </c:numCache>
            </c:numRef>
          </c:xVal>
          <c:yVal>
            <c:numRef>
              <c:f>Sheet1!$B$2:$B$10</c:f>
              <c:numCache>
                <c:formatCode>General</c:formatCode>
                <c:ptCount val="9"/>
                <c:pt idx="0">
                  <c:v>1.6452535182836401</c:v>
                </c:pt>
                <c:pt idx="1">
                  <c:v>1.1188152449114801</c:v>
                </c:pt>
                <c:pt idx="2">
                  <c:v>0.66342305478413799</c:v>
                </c:pt>
                <c:pt idx="3">
                  <c:v>2.18935045793762</c:v>
                </c:pt>
                <c:pt idx="4">
                  <c:v>2.6448035248354018</c:v>
                </c:pt>
                <c:pt idx="5">
                  <c:v>2.0293414488338879</c:v>
                </c:pt>
                <c:pt idx="6">
                  <c:v>0.1887731168047006</c:v>
                </c:pt>
                <c:pt idx="7">
                  <c:v>1.807555643783163</c:v>
                </c:pt>
                <c:pt idx="8">
                  <c:v>0.94109359484675459</c:v>
                </c:pt>
              </c:numCache>
            </c:numRef>
          </c:yVal>
          <c:bubbleSize>
            <c:numRef>
              <c:f>Sheet1!$C$2:$C$10</c:f>
              <c:numCache>
                <c:formatCode>General</c:formatCode>
                <c:ptCount val="9"/>
                <c:pt idx="0">
                  <c:v>17690021</c:v>
                </c:pt>
                <c:pt idx="1">
                  <c:v>5819983</c:v>
                </c:pt>
                <c:pt idx="2">
                  <c:v>5576881</c:v>
                </c:pt>
                <c:pt idx="3">
                  <c:v>3633781</c:v>
                </c:pt>
                <c:pt idx="4">
                  <c:v>3311588</c:v>
                </c:pt>
                <c:pt idx="5">
                  <c:v>2499695</c:v>
                </c:pt>
                <c:pt idx="6">
                  <c:v>2364140</c:v>
                </c:pt>
                <c:pt idx="7">
                  <c:v>1878018</c:v>
                </c:pt>
                <c:pt idx="8">
                  <c:v>7590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Intuition</c:v>
                  </c:pt>
                  <c:pt idx="5">
                    <c:v>Billie</c:v>
                  </c:pt>
                  <c:pt idx="6">
                    <c:v>Bic Silky Touch</c:v>
                  </c:pt>
                  <c:pt idx="7">
                    <c:v>Joy</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ACBC28-AB5D-419A-ACFB-4BECC7161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4310C0-E5FC-46F4-9FB9-12E40459A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714D1-07CB-45AA-B035-DB0561E51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977F65-E56A-4F87-A684-24D2987E0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1125CA-AD06-42A2-A65B-3CE9DA131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A77A5F-D9C2-4880-ADFD-029AB7FE1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020990-A34D-4F1C-BE4C-3ABCE6D50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19C61C-271B-449B-B93F-301A6FF59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5360270659348414</c:v>
                </c:pt>
                <c:pt idx="1">
                  <c:v>6.6977754514524994</c:v>
                </c:pt>
                <c:pt idx="2">
                  <c:v>5.6561950866554112</c:v>
                </c:pt>
                <c:pt idx="3">
                  <c:v>6.7856506346186256</c:v>
                </c:pt>
                <c:pt idx="4">
                  <c:v>5.1386429104875706</c:v>
                </c:pt>
                <c:pt idx="5">
                  <c:v>4.7676236689580804</c:v>
                </c:pt>
                <c:pt idx="6">
                  <c:v>4.7966255579934929</c:v>
                </c:pt>
              </c:numCache>
            </c:numRef>
          </c:xVal>
          <c:yVal>
            <c:numRef>
              <c:f>Sheet1!$B$2:$B$8</c:f>
              <c:numCache>
                <c:formatCode>General</c:formatCode>
                <c:ptCount val="7"/>
                <c:pt idx="0">
                  <c:v>1.000218580257646</c:v>
                </c:pt>
                <c:pt idx="1">
                  <c:v>1.1982566141334909</c:v>
                </c:pt>
                <c:pt idx="2">
                  <c:v>1.024255141855545</c:v>
                </c:pt>
                <c:pt idx="3">
                  <c:v>0.5891327964481059</c:v>
                </c:pt>
                <c:pt idx="4">
                  <c:v>1.2405507771738919</c:v>
                </c:pt>
                <c:pt idx="5">
                  <c:v>0.57529816268612854</c:v>
                </c:pt>
                <c:pt idx="6">
                  <c:v>1.1579048003389201</c:v>
                </c:pt>
              </c:numCache>
            </c:numRef>
          </c:yVal>
          <c:bubbleSize>
            <c:numRef>
              <c:f>Sheet1!$C$2:$C$8</c:f>
              <c:numCache>
                <c:formatCode>General</c:formatCode>
                <c:ptCount val="7"/>
                <c:pt idx="0">
                  <c:v>3632983</c:v>
                </c:pt>
                <c:pt idx="1">
                  <c:v>1151649</c:v>
                </c:pt>
                <c:pt idx="2">
                  <c:v>656639</c:v>
                </c:pt>
                <c:pt idx="3">
                  <c:v>281747</c:v>
                </c:pt>
                <c:pt idx="4">
                  <c:v>192658</c:v>
                </c:pt>
                <c:pt idx="5">
                  <c:v>70742</c:v>
                </c:pt>
                <c:pt idx="6">
                  <c:v>6339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Gillette Venus</c:v>
                  </c:pt>
                  <c:pt idx="3">
                    <c:v>Noxzema Base</c:v>
                  </c:pt>
                  <c:pt idx="4">
                    <c:v>Intuition</c:v>
                  </c:pt>
                  <c:pt idx="5">
                    <c:v>Pbg Pl</c:v>
                  </c:pt>
                  <c:pt idx="6">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B$2:$B$9</c:f>
              <c:numCache>
                <c:formatCode>General</c:formatCode>
                <c:ptCount val="8"/>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C$2:$C$9</c:f>
              <c:numCache>
                <c:formatCode>General</c:formatCode>
                <c:ptCount val="8"/>
                <c:pt idx="0">
                  <c:v>11.9976977231693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D$2:$D$9</c:f>
              <c:numCache>
                <c:formatCode>General</c:formatCode>
                <c:ptCount val="8"/>
                <c:pt idx="0">
                  <c:v>13.892709490201698</c:v>
                </c:pt>
                <c:pt idx="1">
                  <c:v>11.705731384095079</c:v>
                </c:pt>
                <c:pt idx="2">
                  <c:v>12.023321708805581</c:v>
                </c:pt>
                <c:pt idx="3">
                  <c:v>14.6450344852231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E$2:$E$9</c:f>
              <c:numCache>
                <c:formatCode>General</c:formatCode>
                <c:ptCount val="8"/>
                <c:pt idx="0">
                  <c:v>9.9244041801368326</c:v>
                </c:pt>
                <c:pt idx="3">
                  <c:v>19.401649211508367</c:v>
                </c:pt>
                <c:pt idx="5">
                  <c:v>12.3985389610389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F$2:$F$9</c:f>
              <c:numCache>
                <c:formatCode>General</c:formatCode>
                <c:ptCount val="8"/>
                <c:pt idx="0">
                  <c:v>17.837083021690351</c:v>
                </c:pt>
                <c:pt idx="1">
                  <c:v>12.075637182917262</c:v>
                </c:pt>
                <c:pt idx="2">
                  <c:v>11.149240267810608</c:v>
                </c:pt>
                <c:pt idx="4">
                  <c:v>8.3447029018885299</c:v>
                </c:pt>
                <c:pt idx="5">
                  <c:v>21.1388375036510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G$2:$G$9</c:f>
              <c:numCache>
                <c:formatCode>General</c:formatCode>
                <c:ptCount val="8"/>
                <c:pt idx="7">
                  <c:v>12.8533731964123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H$2:$H$9</c:f>
              <c:numCache>
                <c:formatCode>General</c:formatCode>
                <c:ptCount val="8"/>
                <c:pt idx="0">
                  <c:v>27.870413062329476</c:v>
                </c:pt>
                <c:pt idx="3">
                  <c:v>28.4913037015014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I$2:$I$9</c:f>
              <c:numCache>
                <c:formatCode>General</c:formatCode>
                <c:ptCount val="8"/>
                <c:pt idx="0">
                  <c:v>20.654963728908662</c:v>
                </c:pt>
                <c:pt idx="1">
                  <c:v>18.499681427206117</c:v>
                </c:pt>
                <c:pt idx="2">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B$2:$B$10</c:f>
              <c:numCache>
                <c:formatCode>General</c:formatCode>
                <c:ptCount val="9"/>
                <c:pt idx="7">
                  <c:v>8.9143489254108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C$2:$C$10</c:f>
              <c:numCache>
                <c:formatCode>General</c:formatCode>
                <c:ptCount val="9"/>
                <c:pt idx="0">
                  <c:v>20.271765721686574</c:v>
                </c:pt>
                <c:pt idx="1">
                  <c:v>30.998167059439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D$2:$D$10</c:f>
              <c:numCache>
                <c:formatCode>General</c:formatCode>
                <c:ptCount val="9"/>
                <c:pt idx="1">
                  <c:v>8.898668210770122</c:v>
                </c:pt>
                <c:pt idx="3">
                  <c:v>15.351670666420528</c:v>
                </c:pt>
                <c:pt idx="4">
                  <c:v>7.30618029226635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E$2:$E$10</c:f>
              <c:numCache>
                <c:formatCode>General</c:formatCode>
                <c:ptCount val="9"/>
                <c:pt idx="0">
                  <c:v>8.5420260408027868</c:v>
                </c:pt>
                <c:pt idx="2">
                  <c:v>6.1454811000816889</c:v>
                </c:pt>
                <c:pt idx="3">
                  <c:v>8.1133779446167242</c:v>
                </c:pt>
                <c:pt idx="5">
                  <c:v>13.385296722763508</c:v>
                </c:pt>
                <c:pt idx="6">
                  <c:v>6.3246774727092294</c:v>
                </c:pt>
                <c:pt idx="8">
                  <c:v>13.2648933222499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F$2:$F$10</c:f>
              <c:numCache>
                <c:formatCode>General</c:formatCode>
                <c:ptCount val="9"/>
                <c:pt idx="0">
                  <c:v>15.31954350927246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Hydro Silk</c:v>
                </c:pt>
                <c:pt idx="3">
                  <c:v>Skintimate</c:v>
                </c:pt>
                <c:pt idx="4">
                  <c:v>Flamingo</c:v>
                </c:pt>
              </c:strCache>
            </c:strRef>
          </c:cat>
          <c:val>
            <c:numRef>
              <c:f>Sheet1!$B$2:$B$6</c:f>
              <c:numCache>
                <c:formatCode>General</c:formatCode>
                <c:ptCount val="5"/>
                <c:pt idx="0">
                  <c:v>17.49354988861921</c:v>
                </c:pt>
                <c:pt idx="2">
                  <c:v>12.46705557816669</c:v>
                </c:pt>
                <c:pt idx="4">
                  <c:v>14.2408929060531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C$2:$C$6</c:f>
              <c:numCache>
                <c:formatCode>General</c:formatCode>
                <c:ptCount val="5"/>
                <c:pt idx="1">
                  <c:v>14.50566579773368</c:v>
                </c:pt>
                <c:pt idx="2">
                  <c:v>12.380125374546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D$2:$D$6</c:f>
              <c:numCache>
                <c:formatCode>General</c:formatCode>
                <c:ptCount val="5"/>
                <c:pt idx="0">
                  <c:v>12.407848610393749</c:v>
                </c:pt>
                <c:pt idx="2">
                  <c:v>19.704999688686883</c:v>
                </c:pt>
                <c:pt idx="3">
                  <c:v>8.4478038719354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E$2:$E$6</c:f>
              <c:numCache>
                <c:formatCode>General</c:formatCode>
                <c:ptCount val="5"/>
                <c:pt idx="0">
                  <c:v>8.29382245458201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F$2:$F$6</c:f>
              <c:numCache>
                <c:formatCode>General</c:formatCode>
                <c:ptCount val="5"/>
                <c:pt idx="0">
                  <c:v>18.283573084373312</c:v>
                </c:pt>
                <c:pt idx="1">
                  <c:v>28.62923007382853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4290406918281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61128675308251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0.99874160437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2.890676332144896</c:v>
                </c:pt>
                <c:pt idx="1">
                  <c:v>11.320764561629302</c:v>
                </c:pt>
                <c:pt idx="2">
                  <c:v>11.837915448019144</c:v>
                </c:pt>
                <c:pt idx="4">
                  <c:v>13.5288374303365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8.7564206438005581</c:v>
                </c:pt>
                <c:pt idx="4">
                  <c:v>18.576859866330668</c:v>
                </c:pt>
                <c:pt idx="5">
                  <c:v>12.0114432842225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3.70958990798087</c:v>
                </c:pt>
                <c:pt idx="1">
                  <c:v>11.843617223666687</c:v>
                </c:pt>
                <c:pt idx="2">
                  <c:v>10.44965034965035</c:v>
                </c:pt>
                <c:pt idx="3">
                  <c:v>7.947347347347347</c:v>
                </c:pt>
                <c:pt idx="5">
                  <c:v>20.1808031994667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4628833208676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4.134819312180312</c:v>
                </c:pt>
                <c:pt idx="5">
                  <c:v>19.8655660377358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3.814727700379953</c:v>
                </c:pt>
                <c:pt idx="1">
                  <c:v>17.854892966360858</c:v>
                </c:pt>
                <c:pt idx="2">
                  <c:v>19.31270581778265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B$2:$B$10</c:f>
              <c:numCache>
                <c:formatCode>General</c:formatCode>
                <c:ptCount val="9"/>
                <c:pt idx="7">
                  <c:v>8.4184500311655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C$2:$C$10</c:f>
              <c:numCache>
                <c:formatCode>General</c:formatCode>
                <c:ptCount val="9"/>
                <c:pt idx="0">
                  <c:v>19.287649880095923</c:v>
                </c:pt>
                <c:pt idx="2">
                  <c:v>30.98001080497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D$2:$D$10</c:f>
              <c:numCache>
                <c:formatCode>General</c:formatCode>
                <c:ptCount val="9"/>
                <c:pt idx="1">
                  <c:v>7.021989602360545</c:v>
                </c:pt>
                <c:pt idx="4">
                  <c:v>14.9184723726977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E$2:$E$10</c:f>
              <c:numCache>
                <c:formatCode>General</c:formatCode>
                <c:ptCount val="9"/>
                <c:pt idx="0">
                  <c:v>7.7042770926266071</c:v>
                </c:pt>
                <c:pt idx="3">
                  <c:v>5.8292796838512668</c:v>
                </c:pt>
                <c:pt idx="4">
                  <c:v>7.8276738845144358</c:v>
                </c:pt>
                <c:pt idx="5">
                  <c:v>12.919863273832132</c:v>
                </c:pt>
                <c:pt idx="6">
                  <c:v>6.1267929634641405</c:v>
                </c:pt>
                <c:pt idx="8">
                  <c:v>12.891952983725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F$2:$F$10</c:f>
              <c:numCache>
                <c:formatCode>General</c:formatCode>
                <c:ptCount val="9"/>
                <c:pt idx="0">
                  <c:v>14.7321174123681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076254361689328</c:v>
                </c:pt>
                <c:pt idx="1">
                  <c:v>12.003966135306232</c:v>
                </c:pt>
                <c:pt idx="4">
                  <c:v>13.79493670886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775357036797063</c:v>
                </c:pt>
                <c:pt idx="2">
                  <c:v>13.5981374464723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0.166680230402662</c:v>
                </c:pt>
                <c:pt idx="1">
                  <c:v>17.560281690140844</c:v>
                </c:pt>
                <c:pt idx="3">
                  <c:v>8.10413214581607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73940899581589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7.857914276071551</c:v>
                </c:pt>
                <c:pt idx="2">
                  <c:v>27.86380212462343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339946040311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605022831050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B$2:$B$8</c:f>
              <c:numCache>
                <c:formatCode>General</c:formatCode>
                <c:ptCount val="7"/>
                <c:pt idx="6">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C$2:$C$8</c:f>
              <c:numCache>
                <c:formatCode>General</c:formatCode>
                <c:ptCount val="7"/>
                <c:pt idx="0">
                  <c:v>10.6852720666022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D$2:$D$8</c:f>
              <c:numCache>
                <c:formatCode>General</c:formatCode>
                <c:ptCount val="7"/>
                <c:pt idx="0">
                  <c:v>12.77596597757613</c:v>
                </c:pt>
                <c:pt idx="2">
                  <c:v>11.493926785188922</c:v>
                </c:pt>
                <c:pt idx="3">
                  <c:v>11.793765288841497</c:v>
                </c:pt>
                <c:pt idx="5">
                  <c:v>13.4215002388915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E$2:$E$8</c:f>
              <c:numCache>
                <c:formatCode>General</c:formatCode>
                <c:ptCount val="7"/>
                <c:pt idx="0">
                  <c:v>8.4686292158627623</c:v>
                </c:pt>
                <c:pt idx="4">
                  <c:v>11.761273776447959</c:v>
                </c:pt>
                <c:pt idx="5">
                  <c:v>19.2041316526610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F$2:$F$8</c:f>
              <c:numCache>
                <c:formatCode>General</c:formatCode>
                <c:ptCount val="7"/>
                <c:pt idx="0">
                  <c:v>12.724835710407039</c:v>
                </c:pt>
                <c:pt idx="1">
                  <c:v>7.8122605363984672</c:v>
                </c:pt>
                <c:pt idx="2">
                  <c:v>12.012946058091286</c:v>
                </c:pt>
                <c:pt idx="3">
                  <c:v>10.613208397152897</c:v>
                </c:pt>
                <c:pt idx="4">
                  <c:v>20.5480373831775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G$2:$G$8</c:f>
              <c:numCache>
                <c:formatCode>General</c:formatCode>
                <c:ptCount val="7"/>
                <c:pt idx="0">
                  <c:v>25.063340670090486</c:v>
                </c:pt>
                <c:pt idx="4">
                  <c:v>20.0903380197427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H$2:$H$8</c:f>
              <c:numCache>
                <c:formatCode>General</c:formatCode>
                <c:ptCount val="7"/>
                <c:pt idx="0">
                  <c:v>11.70846256092157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B$2:$B$10</c:f>
              <c:numCache>
                <c:formatCode>General</c:formatCode>
                <c:ptCount val="9"/>
                <c:pt idx="8">
                  <c:v>8.6742489270386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C$2:$C$10</c:f>
              <c:numCache>
                <c:formatCode>General</c:formatCode>
                <c:ptCount val="9"/>
                <c:pt idx="0">
                  <c:v>19.382067851373183</c:v>
                </c:pt>
                <c:pt idx="4">
                  <c:v>30.8682842287694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D$2:$D$10</c:f>
              <c:numCache>
                <c:formatCode>General</c:formatCode>
                <c:ptCount val="9"/>
                <c:pt idx="1">
                  <c:v>7.0626189143816456</c:v>
                </c:pt>
                <c:pt idx="3">
                  <c:v>15.1172140430351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E$2:$E$10</c:f>
              <c:numCache>
                <c:formatCode>General</c:formatCode>
                <c:ptCount val="9"/>
                <c:pt idx="0">
                  <c:v>7.7726470588235292</c:v>
                </c:pt>
                <c:pt idx="2">
                  <c:v>5.8288191787809236</c:v>
                </c:pt>
                <c:pt idx="3">
                  <c:v>8.0386408058938503</c:v>
                </c:pt>
                <c:pt idx="5">
                  <c:v>6.0895394624208183</c:v>
                </c:pt>
                <c:pt idx="6">
                  <c:v>13.130555555555556</c:v>
                </c:pt>
                <c:pt idx="7">
                  <c:v>12.8971148611867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F$2:$F$10</c:f>
              <c:numCache>
                <c:formatCode>General</c:formatCode>
                <c:ptCount val="9"/>
                <c:pt idx="0">
                  <c:v>14.87333333333333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6CB0AE-8E8A-413B-8CDB-6682D64D0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951C37-8C1E-4D15-A885-3FEBF6EFB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9F5A74-F170-4945-A4E1-9357767DC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E62E92-B89E-4868-9C01-CF249C634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9831C4-AB00-4968-BC06-76B410E21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9E851E-0965-46E9-9DAB-B27CF2832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EDAD63-C537-49F6-BAA2-FCA28B431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8D29E8-1E0D-494C-B59C-F2D98B90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4.43887552342188</c:v>
                </c:pt>
                <c:pt idx="1">
                  <c:v>11.851352441779721</c:v>
                </c:pt>
                <c:pt idx="2">
                  <c:v>12.476384414397881</c:v>
                </c:pt>
                <c:pt idx="3">
                  <c:v>10.154888363738021</c:v>
                </c:pt>
                <c:pt idx="4">
                  <c:v>11.111067997404669</c:v>
                </c:pt>
                <c:pt idx="5">
                  <c:v>10.212844108750909</c:v>
                </c:pt>
                <c:pt idx="6">
                  <c:v>13.306856759221731</c:v>
                </c:pt>
                <c:pt idx="7">
                  <c:v>6.2821885271359399</c:v>
                </c:pt>
                <c:pt idx="8">
                  <c:v>12.165703542793169</c:v>
                </c:pt>
              </c:numCache>
            </c:numRef>
          </c:xVal>
          <c:yVal>
            <c:numRef>
              <c:f>Sheet1!$B$2:$B$10</c:f>
              <c:numCache>
                <c:formatCode>General</c:formatCode>
                <c:ptCount val="9"/>
                <c:pt idx="0">
                  <c:v>1.14088485964096</c:v>
                </c:pt>
                <c:pt idx="1">
                  <c:v>0.80813704838150324</c:v>
                </c:pt>
                <c:pt idx="2">
                  <c:v>1.317051328778821</c:v>
                </c:pt>
                <c:pt idx="3">
                  <c:v>1.1241158357640619</c:v>
                </c:pt>
                <c:pt idx="4">
                  <c:v>1.028698049548298</c:v>
                </c:pt>
                <c:pt idx="5">
                  <c:v>0.90474931203921749</c:v>
                </c:pt>
                <c:pt idx="6">
                  <c:v>0.3394874577181155</c:v>
                </c:pt>
                <c:pt idx="7">
                  <c:v>0.7147892316832436</c:v>
                </c:pt>
                <c:pt idx="8">
                  <c:v>0.54651605190976071</c:v>
                </c:pt>
              </c:numCache>
            </c:numRef>
          </c:yVal>
          <c:bubbleSize>
            <c:numRef>
              <c:f>Sheet1!$C$2:$C$10</c:f>
              <c:numCache>
                <c:formatCode>General</c:formatCode>
                <c:ptCount val="9"/>
                <c:pt idx="0">
                  <c:v>181540444</c:v>
                </c:pt>
                <c:pt idx="1">
                  <c:v>38774212</c:v>
                </c:pt>
                <c:pt idx="2">
                  <c:v>29715142</c:v>
                </c:pt>
                <c:pt idx="3">
                  <c:v>28949769</c:v>
                </c:pt>
                <c:pt idx="4">
                  <c:v>27861903</c:v>
                </c:pt>
                <c:pt idx="5">
                  <c:v>10662965</c:v>
                </c:pt>
                <c:pt idx="6">
                  <c:v>6302979</c:v>
                </c:pt>
                <c:pt idx="7">
                  <c:v>5623099</c:v>
                </c:pt>
                <c:pt idx="8">
                  <c:v>491155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Joy</c:v>
                  </c:pt>
                  <c:pt idx="6">
                    <c:v>Amazon</c:v>
                  </c:pt>
                  <c:pt idx="7">
                    <c:v>Pbg Pl</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754518904412345</c:v>
                </c:pt>
                <c:pt idx="1">
                  <c:v>11.781492818460089</c:v>
                </c:pt>
                <c:pt idx="4">
                  <c:v>14.063901345291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633383946803498</c:v>
                </c:pt>
                <c:pt idx="2">
                  <c:v>13.6404063439411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9.6810923869607368</c:v>
                </c:pt>
                <c:pt idx="1">
                  <c:v>16.323358270989193</c:v>
                </c:pt>
                <c:pt idx="3">
                  <c:v>7.91732677074521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45744027180395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57025761124122</c:v>
                </c:pt>
                <c:pt idx="2">
                  <c:v>28.5103744939271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9262464722483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992659758203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B$2:$B$9</c:f>
              <c:numCache>
                <c:formatCode>General</c:formatCode>
                <c:ptCount val="8"/>
                <c:pt idx="6">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C$2:$C$9</c:f>
              <c:numCache>
                <c:formatCode>General</c:formatCode>
                <c:ptCount val="8"/>
                <c:pt idx="0">
                  <c:v>11.5518601734768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D$2:$D$9</c:f>
              <c:numCache>
                <c:formatCode>General</c:formatCode>
                <c:ptCount val="8"/>
                <c:pt idx="0">
                  <c:v>13.437490216300334</c:v>
                </c:pt>
                <c:pt idx="1">
                  <c:v>11.916323615895152</c:v>
                </c:pt>
                <c:pt idx="2">
                  <c:v>11.592975337602232</c:v>
                </c:pt>
                <c:pt idx="4">
                  <c:v>14.2110778443113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E$2:$E$9</c:f>
              <c:numCache>
                <c:formatCode>General</c:formatCode>
                <c:ptCount val="8"/>
                <c:pt idx="0">
                  <c:v>9.6843906891830223</c:v>
                </c:pt>
                <c:pt idx="4">
                  <c:v>20.045973645680821</c:v>
                </c:pt>
                <c:pt idx="5">
                  <c:v>12.2031957725213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F$2:$F$9</c:f>
              <c:numCache>
                <c:formatCode>General</c:formatCode>
                <c:ptCount val="8"/>
                <c:pt idx="0">
                  <c:v>15.827773353054955</c:v>
                </c:pt>
                <c:pt idx="1">
                  <c:v>10.946465123602582</c:v>
                </c:pt>
                <c:pt idx="2">
                  <c:v>12.038193970808894</c:v>
                </c:pt>
                <c:pt idx="3">
                  <c:v>8.13079968028013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G$2:$G$9</c:f>
              <c:numCache>
                <c:formatCode>General</c:formatCode>
                <c:ptCount val="8"/>
                <c:pt idx="7">
                  <c:v>12.7806483462234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H$2:$H$9</c:f>
              <c:numCache>
                <c:formatCode>General</c:formatCode>
                <c:ptCount val="8"/>
                <c:pt idx="0">
                  <c:v>26.712208723361879</c:v>
                </c:pt>
                <c:pt idx="4">
                  <c:v>29.071571371451419</c:v>
                </c:pt>
                <c:pt idx="5">
                  <c:v>20.0865856810545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I$2:$I$9</c:f>
              <c:numCache>
                <c:formatCode>General</c:formatCode>
                <c:ptCount val="8"/>
                <c:pt idx="0">
                  <c:v>19.96949689687046</c:v>
                </c:pt>
                <c:pt idx="1">
                  <c:v>20.0753371868978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B$2:$B$10</c:f>
              <c:numCache>
                <c:formatCode>General</c:formatCode>
                <c:ptCount val="9"/>
                <c:pt idx="6">
                  <c:v>8.9093604404913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C$2:$C$10</c:f>
              <c:numCache>
                <c:formatCode>General</c:formatCode>
                <c:ptCount val="9"/>
                <c:pt idx="0">
                  <c:v>20.179593447799487</c:v>
                </c:pt>
                <c:pt idx="4">
                  <c:v>30.8805863425098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D$2:$D$10</c:f>
              <c:numCache>
                <c:formatCode>General</c:formatCode>
                <c:ptCount val="9"/>
                <c:pt idx="2">
                  <c:v>15.280907985407378</c:v>
                </c:pt>
                <c:pt idx="3">
                  <c:v>7.1043180846515606</c:v>
                </c:pt>
                <c:pt idx="4">
                  <c:v>8.65578635014836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E$2:$E$10</c:f>
              <c:numCache>
                <c:formatCode>General</c:formatCode>
                <c:ptCount val="9"/>
                <c:pt idx="0">
                  <c:v>8.0324840764331213</c:v>
                </c:pt>
                <c:pt idx="1">
                  <c:v>5.9895739947537932</c:v>
                </c:pt>
                <c:pt idx="2">
                  <c:v>8.0493841111990054</c:v>
                </c:pt>
                <c:pt idx="5">
                  <c:v>6.2562534134352816</c:v>
                </c:pt>
                <c:pt idx="7">
                  <c:v>13.266877220686933</c:v>
                </c:pt>
                <c:pt idx="8">
                  <c:v>5.445633802816901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91831238779174</c:v>
                </c:pt>
                <c:pt idx="1">
                  <c:v>12.247454078233558</c:v>
                </c:pt>
                <c:pt idx="4">
                  <c:v>14.1472412667319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08026418382791</c:v>
                </c:pt>
                <c:pt idx="2">
                  <c:v>14.1545058032083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306526710196435</c:v>
                </c:pt>
                <c:pt idx="1">
                  <c:v>18.914024617679971</c:v>
                </c:pt>
                <c:pt idx="3">
                  <c:v>8.30520099931864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8.08122979836847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38746987951806</c:v>
                </c:pt>
                <c:pt idx="2">
                  <c:v>29.17943299876738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1.1053333333333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4.9744058500914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5.76288659793814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B$2:$B$8</c:f>
              <c:numCache>
                <c:formatCode>General</c:formatCode>
                <c:ptCount val="7"/>
                <c:pt idx="1">
                  <c:v>2.6796774784680228</c:v>
                </c:pt>
                <c:pt idx="4">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C$2:$C$8</c:f>
              <c:numCache>
                <c:formatCode>General</c:formatCode>
                <c:ptCount val="7"/>
                <c:pt idx="4">
                  <c:v>5.2386436340371079</c:v>
                </c:pt>
                <c:pt idx="6">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D$2:$D$8</c:f>
              <c:numCache>
                <c:formatCode>General</c:formatCode>
                <c:ptCount val="7"/>
                <c:pt idx="1">
                  <c:v>1.9943759722388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E$2:$E$8</c:f>
              <c:numCache>
                <c:formatCode>General</c:formatCode>
                <c:ptCount val="7"/>
                <c:pt idx="0">
                  <c:v>10.687560603961767</c:v>
                </c:pt>
                <c:pt idx="1">
                  <c:v>6.1606217616580308</c:v>
                </c:pt>
                <c:pt idx="2">
                  <c:v>7.1118279569892477</c:v>
                </c:pt>
                <c:pt idx="3">
                  <c:v>10.357878787878787</c:v>
                </c:pt>
                <c:pt idx="5">
                  <c:v>9.7611940298507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F$2:$F$8</c:f>
              <c:numCache>
                <c:formatCode>General</c:formatCode>
                <c:ptCount val="7"/>
                <c:pt idx="0">
                  <c:v>5.8100583744948358</c:v>
                </c:pt>
                <c:pt idx="1">
                  <c:v>4.8954503513379235</c:v>
                </c:pt>
                <c:pt idx="2">
                  <c:v>4.98773315409174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G$2:$G$8</c:f>
              <c:numCache>
                <c:formatCode>General</c:formatCode>
                <c:ptCount val="7"/>
                <c:pt idx="0">
                  <c:v>11.48531535869042</c:v>
                </c:pt>
                <c:pt idx="1">
                  <c:v>4.6635475150758996</c:v>
                </c:pt>
                <c:pt idx="2">
                  <c:v>6.9827288428324694</c:v>
                </c:pt>
                <c:pt idx="3">
                  <c:v>10.291488349976225</c:v>
                </c:pt>
                <c:pt idx="5">
                  <c:v>10.53057918185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H$2:$H$8</c:f>
              <c:numCache>
                <c:formatCode>General</c:formatCode>
                <c:ptCount val="7"/>
                <c:pt idx="1">
                  <c:v>1.14309962136049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I$2:$I$8</c:f>
              <c:numCache>
                <c:formatCode>General</c:formatCode>
                <c:ptCount val="7"/>
                <c:pt idx="0">
                  <c:v>20.190699859088774</c:v>
                </c:pt>
                <c:pt idx="1">
                  <c:v>8.932447156243190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J$2:$J$8</c:f>
              <c:numCache>
                <c:formatCode>General</c:formatCode>
                <c:ptCount val="7"/>
                <c:pt idx="0">
                  <c:v>4.6089956555072833</c:v>
                </c:pt>
                <c:pt idx="2">
                  <c:v>9.0325833979829326</c:v>
                </c:pt>
                <c:pt idx="3">
                  <c:v>17.08076009501187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B$2:$B$9</c:f>
              <c:numCache>
                <c:formatCode>General</c:formatCode>
                <c:ptCount val="8"/>
                <c:pt idx="0">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C$2:$C$9</c:f>
              <c:numCache>
                <c:formatCode>General</c:formatCode>
                <c:ptCount val="8"/>
                <c:pt idx="3">
                  <c:v>6.0549019607843135</c:v>
                </c:pt>
                <c:pt idx="5">
                  <c:v>6.6629213483146064</c:v>
                </c:pt>
                <c:pt idx="7">
                  <c:v>2.98073959938366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D$2:$D$9</c:f>
              <c:numCache>
                <c:formatCode>General</c:formatCode>
                <c:ptCount val="8"/>
                <c:pt idx="0">
                  <c:v>6.2718165627782723</c:v>
                </c:pt>
                <c:pt idx="1">
                  <c:v>5.9584745762711862</c:v>
                </c:pt>
                <c:pt idx="3">
                  <c:v>2.9709357277882797</c:v>
                </c:pt>
                <c:pt idx="4">
                  <c:v>5.4563922942206657</c:v>
                </c:pt>
                <c:pt idx="6">
                  <c:v>11.5918079096045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E$2:$E$9</c:f>
              <c:numCache>
                <c:formatCode>General</c:formatCode>
                <c:ptCount val="8"/>
                <c:pt idx="0">
                  <c:v>10.554266211604096</c:v>
                </c:pt>
                <c:pt idx="2">
                  <c:v>5.2464687229749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F$2:$F$9</c:f>
              <c:numCache>
                <c:formatCode>General</c:formatCode>
                <c:ptCount val="8"/>
                <c:pt idx="0">
                  <c:v>10.13114754098360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2.071541627097183</c:v>
                </c:pt>
                <c:pt idx="1">
                  <c:v>7.363844393592677</c:v>
                </c:pt>
                <c:pt idx="3">
                  <c:v>10.7946026986506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2.393275996872557</c:v>
                </c:pt>
                <c:pt idx="3">
                  <c:v>11.2179176755447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4942339373970341</c:v>
                </c:pt>
                <c:pt idx="1">
                  <c:v>6.241912219245827</c:v>
                </c:pt>
                <c:pt idx="3">
                  <c:v>15.860655737704919</c:v>
                </c:pt>
                <c:pt idx="4">
                  <c:v>6.32662721893491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7.4530651340996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248327137546468</c:v>
                </c:pt>
                <c:pt idx="2">
                  <c:v>25.693641618497111</c:v>
                </c:pt>
                <c:pt idx="3">
                  <c:v>18.6534391534391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1">
                  <c:v>10.4439579684763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447895727978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47022667585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794505186431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9623A1-F0C7-4E8B-B43B-019E677EF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A12493-F4FA-43DF-9154-78E405502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353CF8-1193-49D8-B3E6-4755F6143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709D08-72EF-4779-852A-E917323CD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A9760A-35E8-4A8D-90E4-46480D9C4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5CB66B-1879-49D9-A651-66C63DE28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5A2B99-07E0-4A56-AE0C-89E5B8D77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353FEE-28D1-45E9-8D03-919433920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413481042708352</c:v>
                </c:pt>
                <c:pt idx="1">
                  <c:v>16.891015706166129</c:v>
                </c:pt>
                <c:pt idx="2">
                  <c:v>11.266076112159951</c:v>
                </c:pt>
                <c:pt idx="3">
                  <c:v>11.825883832084379</c:v>
                </c:pt>
                <c:pt idx="4">
                  <c:v>16.041458650763499</c:v>
                </c:pt>
                <c:pt idx="5">
                  <c:v>10.908043869835749</c:v>
                </c:pt>
                <c:pt idx="6">
                  <c:v>7.747735762210004</c:v>
                </c:pt>
              </c:numCache>
            </c:numRef>
          </c:xVal>
          <c:yVal>
            <c:numRef>
              <c:f>Sheet1!$B$2:$B$8</c:f>
              <c:numCache>
                <c:formatCode>General</c:formatCode>
                <c:ptCount val="7"/>
                <c:pt idx="0">
                  <c:v>1.3322421496147041</c:v>
                </c:pt>
                <c:pt idx="1">
                  <c:v>1.3705694451000829</c:v>
                </c:pt>
                <c:pt idx="2">
                  <c:v>0.65136596723778406</c:v>
                </c:pt>
                <c:pt idx="3">
                  <c:v>0.73930849253378084</c:v>
                </c:pt>
                <c:pt idx="4">
                  <c:v>1.12888296782317</c:v>
                </c:pt>
                <c:pt idx="5">
                  <c:v>0.68473975658459563</c:v>
                </c:pt>
                <c:pt idx="6">
                  <c:v>0.54031025454094517</c:v>
                </c:pt>
              </c:numCache>
            </c:numRef>
          </c:yVal>
          <c:bubbleSize>
            <c:numRef>
              <c:f>Sheet1!$C$2:$C$8</c:f>
              <c:numCache>
                <c:formatCode>General</c:formatCode>
                <c:ptCount val="7"/>
                <c:pt idx="0">
                  <c:v>164289573</c:v>
                </c:pt>
                <c:pt idx="1">
                  <c:v>46417001</c:v>
                </c:pt>
                <c:pt idx="2">
                  <c:v>35566101</c:v>
                </c:pt>
                <c:pt idx="3">
                  <c:v>35554638</c:v>
                </c:pt>
                <c:pt idx="4">
                  <c:v>19719332</c:v>
                </c:pt>
                <c:pt idx="5">
                  <c:v>16362873</c:v>
                </c:pt>
                <c:pt idx="6">
                  <c:v>890434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85546833374772</c:v>
                </c:pt>
                <c:pt idx="6">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06008165149909</c:v>
                </c:pt>
                <c:pt idx="2">
                  <c:v>9.9100402911670091</c:v>
                </c:pt>
                <c:pt idx="3">
                  <c:v>6.8504738015607582</c:v>
                </c:pt>
                <c:pt idx="4">
                  <c:v>9.3202082864581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852719536294428</c:v>
                </c:pt>
                <c:pt idx="1">
                  <c:v>4.7259207549286648</c:v>
                </c:pt>
                <c:pt idx="3">
                  <c:v>4.69086443151863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8788957019331</c:v>
                </c:pt>
                <c:pt idx="1">
                  <c:v>4.7629523260074027</c:v>
                </c:pt>
                <c:pt idx="2">
                  <c:v>9.9701361952812864</c:v>
                </c:pt>
                <c:pt idx="3">
                  <c:v>7.1916471937800059</c:v>
                </c:pt>
                <c:pt idx="4">
                  <c:v>9.76014205380504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760294823149724</c:v>
                </c:pt>
                <c:pt idx="1">
                  <c:v>8.37520773503862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8453722908588093</c:v>
                </c:pt>
                <c:pt idx="2">
                  <c:v>16.885680152548993</c:v>
                </c:pt>
                <c:pt idx="3">
                  <c:v>8.468968865870167</c:v>
                </c:pt>
                <c:pt idx="4">
                  <c:v>16.9227141028232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B$2:$B$10</c:f>
              <c:numCache>
                <c:formatCode>General</c:formatCode>
                <c:ptCount val="9"/>
                <c:pt idx="0">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C$2:$C$10</c:f>
              <c:numCache>
                <c:formatCode>General</c:formatCode>
                <c:ptCount val="9"/>
                <c:pt idx="1">
                  <c:v>10.961939658018089</c:v>
                </c:pt>
                <c:pt idx="5">
                  <c:v>5.9797090706939686</c:v>
                </c:pt>
                <c:pt idx="8">
                  <c:v>2.96189358650689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D$2:$D$10</c:f>
              <c:numCache>
                <c:formatCode>General</c:formatCode>
                <c:ptCount val="9"/>
                <c:pt idx="0">
                  <c:v>6.5704003057127451</c:v>
                </c:pt>
                <c:pt idx="2">
                  <c:v>5.3971027175696582</c:v>
                </c:pt>
                <c:pt idx="4">
                  <c:v>4.9571810785324235</c:v>
                </c:pt>
                <c:pt idx="6">
                  <c:v>2.6698069203369705</c:v>
                </c:pt>
                <c:pt idx="7">
                  <c:v>9.32976000405484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E$2:$E$10</c:f>
              <c:numCache>
                <c:formatCode>General</c:formatCode>
                <c:ptCount val="9"/>
                <c:pt idx="1">
                  <c:v>10.7924111052723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F$2:$F$10</c:f>
              <c:numCache>
                <c:formatCode>General</c:formatCode>
                <c:ptCount val="9"/>
                <c:pt idx="0">
                  <c:v>8.9137119467894603</c:v>
                </c:pt>
                <c:pt idx="3">
                  <c:v>5.17945397647566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G$2:$G$10</c:f>
              <c:numCache>
                <c:formatCode>General</c:formatCode>
                <c:ptCount val="9"/>
                <c:pt idx="0">
                  <c:v>9.747057774607704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37764668170084</c:v>
                </c:pt>
                <c:pt idx="1">
                  <c:v>6.9201679998717562</c:v>
                </c:pt>
                <c:pt idx="3">
                  <c:v>9.95158980973879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12439490853854</c:v>
                </c:pt>
                <c:pt idx="3">
                  <c:v>10.420368605664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1529543968357761</c:v>
                </c:pt>
                <c:pt idx="1">
                  <c:v>5.9994158788717238</c:v>
                </c:pt>
                <c:pt idx="3">
                  <c:v>14.5651416472354</c:v>
                </c:pt>
                <c:pt idx="4">
                  <c:v>5.97241982275563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1509992982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439031236666592</c:v>
                </c:pt>
                <c:pt idx="2">
                  <c:v>23.716959986717583</c:v>
                </c:pt>
                <c:pt idx="3">
                  <c:v>17.8223031774944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56888180852677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7730551162881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46220077782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77587893674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4123216428857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B$2:$B$8</c:f>
              <c:numCache>
                <c:formatCode>General</c:formatCode>
                <c:ptCount val="7"/>
                <c:pt idx="5">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C$2:$C$8</c:f>
              <c:numCache>
                <c:formatCode>General</c:formatCode>
                <c:ptCount val="7"/>
                <c:pt idx="5">
                  <c:v>4.992040774250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D$2:$D$8</c:f>
              <c:numCache>
                <c:formatCode>General</c:formatCode>
                <c:ptCount val="7"/>
                <c:pt idx="0">
                  <c:v>10.240420602145262</c:v>
                </c:pt>
                <c:pt idx="1">
                  <c:v>5.7189897346844569</c:v>
                </c:pt>
                <c:pt idx="2">
                  <c:v>9.9260042039572536</c:v>
                </c:pt>
                <c:pt idx="3">
                  <c:v>6.8316256337730055</c:v>
                </c:pt>
                <c:pt idx="4">
                  <c:v>9.3038644612120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E$2:$E$8</c:f>
              <c:numCache>
                <c:formatCode>General</c:formatCode>
                <c:ptCount val="7"/>
                <c:pt idx="0">
                  <c:v>6.3663802539404557</c:v>
                </c:pt>
                <c:pt idx="1">
                  <c:v>4.7606689580264545</c:v>
                </c:pt>
                <c:pt idx="3">
                  <c:v>4.7043580783544989</c:v>
                </c:pt>
                <c:pt idx="6">
                  <c:v>12.286613868100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F$2:$F$8</c:f>
              <c:numCache>
                <c:formatCode>General</c:formatCode>
                <c:ptCount val="7"/>
                <c:pt idx="0">
                  <c:v>11.568404823350559</c:v>
                </c:pt>
                <c:pt idx="1">
                  <c:v>4.9451280270547739</c:v>
                </c:pt>
                <c:pt idx="2">
                  <c:v>9.9704521729987903</c:v>
                </c:pt>
                <c:pt idx="3">
                  <c:v>7.0963199535457644</c:v>
                </c:pt>
                <c:pt idx="4">
                  <c:v>9.67132631549700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G$2:$G$8</c:f>
              <c:numCache>
                <c:formatCode>General</c:formatCode>
                <c:ptCount val="7"/>
                <c:pt idx="0">
                  <c:v>20.356493323259816</c:v>
                </c:pt>
                <c:pt idx="1">
                  <c:v>8.41311050966434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H$2:$H$8</c:f>
              <c:numCache>
                <c:formatCode>General</c:formatCode>
                <c:ptCount val="7"/>
                <c:pt idx="0">
                  <c:v>4.9947348605519997</c:v>
                </c:pt>
                <c:pt idx="2">
                  <c:v>16.879600908821494</c:v>
                </c:pt>
                <c:pt idx="3">
                  <c:v>8.4935107224263859</c:v>
                </c:pt>
                <c:pt idx="4">
                  <c:v>16.91042219274977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B$2:$B$10</c:f>
              <c:numCache>
                <c:formatCode>General</c:formatCode>
                <c:ptCount val="9"/>
                <c:pt idx="0">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C$2:$C$10</c:f>
              <c:numCache>
                <c:formatCode>General</c:formatCode>
                <c:ptCount val="9"/>
                <c:pt idx="1">
                  <c:v>10.695958265802268</c:v>
                </c:pt>
                <c:pt idx="3">
                  <c:v>5.97940966436562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D$2:$D$10</c:f>
              <c:numCache>
                <c:formatCode>General</c:formatCode>
                <c:ptCount val="9"/>
                <c:pt idx="0">
                  <c:v>6.4967997428103814</c:v>
                </c:pt>
                <c:pt idx="2">
                  <c:v>5.3768166427466664</c:v>
                </c:pt>
                <c:pt idx="4">
                  <c:v>4.9513873048603569</c:v>
                </c:pt>
                <c:pt idx="6">
                  <c:v>2.6701299039896753</c:v>
                </c:pt>
                <c:pt idx="7">
                  <c:v>8.9908344565616964</c:v>
                </c:pt>
                <c:pt idx="8">
                  <c:v>10.936760866226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E$2:$E$10</c:f>
              <c:numCache>
                <c:formatCode>General</c:formatCode>
                <c:ptCount val="9"/>
                <c:pt idx="1">
                  <c:v>10.353755912961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F$2:$F$10</c:f>
              <c:numCache>
                <c:formatCode>General</c:formatCode>
                <c:ptCount val="9"/>
                <c:pt idx="0">
                  <c:v>8.9342936391394545</c:v>
                </c:pt>
                <c:pt idx="5">
                  <c:v>5.15172118832728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G$2:$G$10</c:f>
              <c:numCache>
                <c:formatCode>General</c:formatCode>
                <c:ptCount val="9"/>
                <c:pt idx="0">
                  <c:v>9.73756881147910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705438622737264</c:v>
                </c:pt>
                <c:pt idx="1">
                  <c:v>6.9202240284133598</c:v>
                </c:pt>
                <c:pt idx="3">
                  <c:v>9.95537554522360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39434274506598</c:v>
                </c:pt>
                <c:pt idx="3">
                  <c:v>10.423428822565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9009499245093107</c:v>
                </c:pt>
                <c:pt idx="1">
                  <c:v>5.9938406667762782</c:v>
                </c:pt>
                <c:pt idx="3">
                  <c:v>14.539462412890977</c:v>
                </c:pt>
                <c:pt idx="4">
                  <c:v>5.98012830708870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8281897250118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136928013392858</c:v>
                </c:pt>
                <c:pt idx="2">
                  <c:v>23.737869198312236</c:v>
                </c:pt>
                <c:pt idx="3">
                  <c:v>17.6685605257578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6571121374288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384963756328002</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2.7014314928425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5333333333333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B$2:$B$7</c:f>
              <c:numCache>
                <c:formatCode>General</c:formatCode>
                <c:ptCount val="6"/>
                <c:pt idx="3">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C$2:$C$7</c:f>
              <c:numCache>
                <c:formatCode>General</c:formatCode>
                <c:ptCount val="6"/>
                <c:pt idx="5">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D$2:$D$7</c:f>
              <c:numCache>
                <c:formatCode>General</c:formatCode>
                <c:ptCount val="6"/>
                <c:pt idx="3">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E$2:$E$7</c:f>
              <c:numCache>
                <c:formatCode>General</c:formatCode>
                <c:ptCount val="6"/>
                <c:pt idx="1">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F$2:$F$7</c:f>
              <c:numCache>
                <c:formatCode>General</c:formatCode>
                <c:ptCount val="6"/>
                <c:pt idx="0">
                  <c:v>9.6977596554725807</c:v>
                </c:pt>
                <c:pt idx="1">
                  <c:v>7.00967540574282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G$2:$G$7</c:f>
              <c:numCache>
                <c:formatCode>General</c:formatCode>
                <c:ptCount val="6"/>
                <c:pt idx="0">
                  <c:v>6.4249378424167745</c:v>
                </c:pt>
                <c:pt idx="1">
                  <c:v>5.6547705168394824</c:v>
                </c:pt>
                <c:pt idx="2">
                  <c:v>7.0592708936099857</c:v>
                </c:pt>
                <c:pt idx="4">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H$2:$H$7</c:f>
              <c:numCache>
                <c:formatCode>General</c:formatCode>
                <c:ptCount val="6"/>
                <c:pt idx="0">
                  <c:v>7.3379624693464125</c:v>
                </c:pt>
                <c:pt idx="1">
                  <c:v>3.6734575569358179</c:v>
                </c:pt>
                <c:pt idx="2">
                  <c:v>3.468798422313002</c:v>
                </c:pt>
                <c:pt idx="5">
                  <c:v>6.42554131683605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I$2:$I$7</c:f>
              <c:numCache>
                <c:formatCode>General</c:formatCode>
                <c:ptCount val="6"/>
                <c:pt idx="1">
                  <c:v>1.5442630597014926</c:v>
                </c:pt>
                <c:pt idx="2">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J$2:$J$7</c:f>
              <c:numCache>
                <c:formatCode>General</c:formatCode>
                <c:ptCount val="6"/>
                <c:pt idx="1">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K$2:$K$7</c:f>
              <c:numCache>
                <c:formatCode>General</c:formatCode>
                <c:ptCount val="6"/>
                <c:pt idx="0">
                  <c:v>4.006302843966180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B$2:$B$7</c:f>
              <c:numCache>
                <c:formatCode>General</c:formatCode>
                <c:ptCount val="6"/>
                <c:pt idx="2">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C$2:$C$7</c:f>
              <c:numCache>
                <c:formatCode>General</c:formatCode>
                <c:ptCount val="6"/>
                <c:pt idx="1">
                  <c:v>12.237929028504945</c:v>
                </c:pt>
                <c:pt idx="3">
                  <c:v>2.98177946048272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D$2:$D$7</c:f>
              <c:numCache>
                <c:formatCode>General</c:formatCode>
                <c:ptCount val="6"/>
                <c:pt idx="0">
                  <c:v>2.8043629504800482</c:v>
                </c:pt>
                <c:pt idx="4">
                  <c:v>6.1286516853932582</c:v>
                </c:pt>
                <c:pt idx="5">
                  <c:v>3.14281139929554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E$2:$E$7</c:f>
              <c:numCache>
                <c:formatCode>General</c:formatCode>
                <c:ptCount val="6"/>
                <c:pt idx="1">
                  <c:v>9.61046511627906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F$2:$F$7</c:f>
              <c:numCache>
                <c:formatCode>General</c:formatCode>
                <c:ptCount val="6"/>
                <c:pt idx="0">
                  <c:v>4.59811613374082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EFCEBC-9875-426E-BEE5-8EF2A903C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667289-A980-4874-86A1-52049BBC8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68000E-8C0C-46A7-8327-0D4BFFE08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43A9735-43BD-4809-9E7F-AA3670B1C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37C2B9-14A5-488B-A495-914E6C005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2AEF2A-50EB-4BD8-9F81-A662A4EAA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46865E-E6AA-4E62-BF11-15FBFAE93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3D68C1-A4E2-47D6-8C36-CCAE2763D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344125156173618</c:v>
                </c:pt>
                <c:pt idx="1">
                  <c:v>6.0340514246004169</c:v>
                </c:pt>
                <c:pt idx="2">
                  <c:v>11.4820742637644</c:v>
                </c:pt>
              </c:numCache>
            </c:numRef>
          </c:xVal>
          <c:yVal>
            <c:numRef>
              <c:f>Sheet1!$B$2:$B$4</c:f>
              <c:numCache>
                <c:formatCode>General</c:formatCode>
                <c:ptCount val="3"/>
                <c:pt idx="0">
                  <c:v>1.0140041158293951</c:v>
                </c:pt>
                <c:pt idx="1">
                  <c:v>1.0325085334753441</c:v>
                </c:pt>
                <c:pt idx="2">
                  <c:v>0.88249554642561723</c:v>
                </c:pt>
              </c:numCache>
            </c:numRef>
          </c:yVal>
          <c:bubbleSize>
            <c:numRef>
              <c:f>Sheet1!$C$2:$C$4</c:f>
              <c:numCache>
                <c:formatCode>General</c:formatCode>
                <c:ptCount val="3"/>
                <c:pt idx="0">
                  <c:v>295811</c:v>
                </c:pt>
                <c:pt idx="1">
                  <c:v>52098</c:v>
                </c:pt>
                <c:pt idx="2">
                  <c:v>35870</c:v>
                </c:pt>
              </c:numCache>
            </c:numRef>
          </c:bubbleSize>
          <c:bubble3D val="0"/>
          <c:extLst>
            <c:ext xmlns:c15="http://schemas.microsoft.com/office/drawing/2012/chart" uri="{02D57815-91ED-43cb-92C2-25804820EDAC}">
              <c15:datalabelsRange>
                <c15:f>Sheet1!$E$2:$E$10</c15:f>
                <c15:dlblRangeCache>
                  <c:ptCount val="9"/>
                  <c:pt idx="0">
                    <c:v>Bic Soleil</c:v>
                  </c:pt>
                  <c:pt idx="1">
                    <c:v>Intuition</c:v>
                  </c:pt>
                  <c:pt idx="2">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Hydro Silk</c:v>
                </c:pt>
                <c:pt idx="3">
                  <c:v>Skintimate</c:v>
                </c:pt>
                <c:pt idx="4">
                  <c:v>Intuition</c:v>
                </c:pt>
              </c:strCache>
            </c:strRef>
          </c:cat>
          <c:val>
            <c:numRef>
              <c:f>Sheet1!$B$2:$B$6</c:f>
              <c:numCache>
                <c:formatCode>General</c:formatCode>
                <c:ptCount val="5"/>
                <c:pt idx="0">
                  <c:v>11.531712236665173</c:v>
                </c:pt>
                <c:pt idx="1">
                  <c:v>8.5415641908509592</c:v>
                </c:pt>
                <c:pt idx="2">
                  <c:v>8.98209966134494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C$2:$C$6</c:f>
              <c:numCache>
                <c:formatCode>General</c:formatCode>
                <c:ptCount val="5"/>
                <c:pt idx="4">
                  <c:v>14.2701115678214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D$2:$D$6</c:f>
              <c:numCache>
                <c:formatCode>General</c:formatCode>
                <c:ptCount val="5"/>
                <c:pt idx="0">
                  <c:v>8.652845590479096</c:v>
                </c:pt>
                <c:pt idx="1">
                  <c:v>5.2356004901960782</c:v>
                </c:pt>
                <c:pt idx="2">
                  <c:v>15.203204047217538</c:v>
                </c:pt>
                <c:pt idx="3">
                  <c:v>6.49496276828734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E$2:$E$6</c:f>
              <c:numCache>
                <c:formatCode>General</c:formatCode>
                <c:ptCount val="5"/>
                <c:pt idx="0">
                  <c:v>6.13270298499257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79660412674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56572670056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694945014323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71599384740401</c:v>
                </c:pt>
                <c:pt idx="6">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9.9732322843441814</c:v>
                </c:pt>
                <c:pt idx="1">
                  <c:v>5.7178025452885439</c:v>
                </c:pt>
                <c:pt idx="2">
                  <c:v>9.9187133126030087</c:v>
                </c:pt>
                <c:pt idx="3">
                  <c:v>6.8324072895258539</c:v>
                </c:pt>
                <c:pt idx="4">
                  <c:v>9.25700974020493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699162708710769</c:v>
                </c:pt>
                <c:pt idx="1">
                  <c:v>4.7481313543282742</c:v>
                </c:pt>
                <c:pt idx="3">
                  <c:v>4.62511355290115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7549312036948</c:v>
                </c:pt>
                <c:pt idx="1">
                  <c:v>4.7505540388032017</c:v>
                </c:pt>
                <c:pt idx="2">
                  <c:v>9.9699639504642512</c:v>
                </c:pt>
                <c:pt idx="3">
                  <c:v>6.9869787771517844</c:v>
                </c:pt>
                <c:pt idx="4">
                  <c:v>9.68115502103706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774165912166438</c:v>
                </c:pt>
                <c:pt idx="1">
                  <c:v>8.38374772453997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5187205181533034</c:v>
                </c:pt>
                <c:pt idx="2">
                  <c:v>16.86778076428655</c:v>
                </c:pt>
                <c:pt idx="3">
                  <c:v>8.467935464190082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B$2:$B$10</c:f>
              <c:numCache>
                <c:formatCode>General</c:formatCode>
                <c:ptCount val="9"/>
                <c:pt idx="0">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C$2:$C$10</c:f>
              <c:numCache>
                <c:formatCode>General</c:formatCode>
                <c:ptCount val="9"/>
                <c:pt idx="1">
                  <c:v>10.88387864695787</c:v>
                </c:pt>
                <c:pt idx="3">
                  <c:v>5.97934346152254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D$2:$D$10</c:f>
              <c:numCache>
                <c:formatCode>General</c:formatCode>
                <c:ptCount val="9"/>
                <c:pt idx="0">
                  <c:v>6.4458118986091604</c:v>
                </c:pt>
                <c:pt idx="2">
                  <c:v>5.3827990869048001</c:v>
                </c:pt>
                <c:pt idx="4">
                  <c:v>2.6701993151762795</c:v>
                </c:pt>
                <c:pt idx="6">
                  <c:v>4.9631068715637321</c:v>
                </c:pt>
                <c:pt idx="7">
                  <c:v>9.0206475100767136</c:v>
                </c:pt>
                <c:pt idx="8">
                  <c:v>10.9205715486446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E$2:$E$10</c:f>
              <c:numCache>
                <c:formatCode>General</c:formatCode>
                <c:ptCount val="9"/>
                <c:pt idx="1">
                  <c:v>10.1283050912880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F$2:$F$10</c:f>
              <c:numCache>
                <c:formatCode>General</c:formatCode>
                <c:ptCount val="9"/>
                <c:pt idx="0">
                  <c:v>8.8769711948557557</c:v>
                </c:pt>
                <c:pt idx="5">
                  <c:v>5.09991221225126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G$2:$G$10</c:f>
              <c:numCache>
                <c:formatCode>General</c:formatCode>
                <c:ptCount val="9"/>
                <c:pt idx="0">
                  <c:v>9.68636923368381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06329457232939</c:v>
                </c:pt>
                <c:pt idx="1">
                  <c:v>6.9191538246430815</c:v>
                </c:pt>
                <c:pt idx="3">
                  <c:v>9.95122479165915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3242206304979</c:v>
                </c:pt>
                <c:pt idx="3">
                  <c:v>10.4127292625858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8993202278155437</c:v>
                </c:pt>
                <c:pt idx="1">
                  <c:v>5.9241509231493792</c:v>
                </c:pt>
                <c:pt idx="3">
                  <c:v>14.557511181268087</c:v>
                </c:pt>
                <c:pt idx="4">
                  <c:v>5.97093649085037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51136069561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117604327465656</c:v>
                </c:pt>
                <c:pt idx="2">
                  <c:v>23.704647757470578</c:v>
                </c:pt>
                <c:pt idx="3">
                  <c:v>17.6285148090621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8458942340143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784432891557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0091855480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83863043144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5915059742103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B$2:$B$8</c:f>
              <c:numCache>
                <c:formatCode>General</c:formatCode>
                <c:ptCount val="7"/>
                <c:pt idx="5">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C$2:$C$8</c:f>
              <c:numCache>
                <c:formatCode>General</c:formatCode>
                <c:ptCount val="7"/>
                <c:pt idx="5">
                  <c:v>4.9775027476465814</c:v>
                </c:pt>
                <c:pt idx="6">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D$2:$D$8</c:f>
              <c:numCache>
                <c:formatCode>General</c:formatCode>
                <c:ptCount val="7"/>
                <c:pt idx="0">
                  <c:v>9.9651798582311244</c:v>
                </c:pt>
                <c:pt idx="2">
                  <c:v>6.8400690761070679</c:v>
                </c:pt>
                <c:pt idx="3">
                  <c:v>9.9087464159196159</c:v>
                </c:pt>
                <c:pt idx="4">
                  <c:v>9.25867703174474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E$2:$E$8</c:f>
              <c:numCache>
                <c:formatCode>General</c:formatCode>
                <c:ptCount val="7"/>
                <c:pt idx="0">
                  <c:v>6.1496129579795893</c:v>
                </c:pt>
                <c:pt idx="1">
                  <c:v>4.7286759786979946</c:v>
                </c:pt>
                <c:pt idx="2">
                  <c:v>4.5781181640890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F$2:$F$8</c:f>
              <c:numCache>
                <c:formatCode>General</c:formatCode>
                <c:ptCount val="7"/>
                <c:pt idx="0">
                  <c:v>10.994709262420583</c:v>
                </c:pt>
                <c:pt idx="1">
                  <c:v>4.626040986541418</c:v>
                </c:pt>
                <c:pt idx="2">
                  <c:v>6.8809945769680647</c:v>
                </c:pt>
                <c:pt idx="3">
                  <c:v>9.9702407130501065</c:v>
                </c:pt>
                <c:pt idx="4">
                  <c:v>9.6982972184765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G$2:$G$8</c:f>
              <c:numCache>
                <c:formatCode>General</c:formatCode>
                <c:ptCount val="7"/>
                <c:pt idx="0">
                  <c:v>19.738921492135646</c:v>
                </c:pt>
                <c:pt idx="1">
                  <c:v>8.36562801593476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H$2:$H$8</c:f>
              <c:numCache>
                <c:formatCode>General</c:formatCode>
                <c:ptCount val="7"/>
                <c:pt idx="0">
                  <c:v>4.5113753255564557</c:v>
                </c:pt>
                <c:pt idx="2">
                  <c:v>8.4679688371277901</c:v>
                </c:pt>
                <c:pt idx="3">
                  <c:v>16.86238257643750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B$2:$B$10</c:f>
              <c:numCache>
                <c:formatCode>General</c:formatCode>
                <c:ptCount val="9"/>
                <c:pt idx="0">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C$2:$C$10</c:f>
              <c:numCache>
                <c:formatCode>General</c:formatCode>
                <c:ptCount val="9"/>
                <c:pt idx="2">
                  <c:v>10.711714819606152</c:v>
                </c:pt>
                <c:pt idx="4">
                  <c:v>5.98007293449335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D$2:$D$10</c:f>
              <c:numCache>
                <c:formatCode>General</c:formatCode>
                <c:ptCount val="9"/>
                <c:pt idx="0">
                  <c:v>6.2777668431965798</c:v>
                </c:pt>
                <c:pt idx="1">
                  <c:v>5.405395246474078</c:v>
                </c:pt>
                <c:pt idx="3">
                  <c:v>4.9614990990990995</c:v>
                </c:pt>
                <c:pt idx="5">
                  <c:v>2.6701281563253394</c:v>
                </c:pt>
                <c:pt idx="7">
                  <c:v>10.938366774859841</c:v>
                </c:pt>
                <c:pt idx="8">
                  <c:v>8.3730402705195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E$2:$E$10</c:f>
              <c:numCache>
                <c:formatCode>General</c:formatCode>
                <c:ptCount val="9"/>
                <c:pt idx="2">
                  <c:v>9.5469165730503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F$2:$F$10</c:f>
              <c:numCache>
                <c:formatCode>General</c:formatCode>
                <c:ptCount val="9"/>
                <c:pt idx="0">
                  <c:v>8.9033975908349543</c:v>
                </c:pt>
                <c:pt idx="6">
                  <c:v>5.11505936993383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G$2:$G$10</c:f>
              <c:numCache>
                <c:formatCode>General</c:formatCode>
                <c:ptCount val="9"/>
                <c:pt idx="0">
                  <c:v>10.07784904665670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5740325633213</c:v>
                </c:pt>
                <c:pt idx="1">
                  <c:v>6.9181379173804132</c:v>
                </c:pt>
                <c:pt idx="3">
                  <c:v>9.94994551604092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08286401785657</c:v>
                </c:pt>
                <c:pt idx="3">
                  <c:v>10.4143926008332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886827889061145</c:v>
                </c:pt>
                <c:pt idx="1">
                  <c:v>5.8437168847077432</c:v>
                </c:pt>
                <c:pt idx="3">
                  <c:v>14.541578367381538</c:v>
                </c:pt>
                <c:pt idx="4">
                  <c:v>5.9706575306934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53763440860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183215163817257</c:v>
                </c:pt>
                <c:pt idx="2">
                  <c:v>23.65001736714137</c:v>
                </c:pt>
                <c:pt idx="3">
                  <c:v>17.6999186141146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18841068744439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9417460828997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014049391866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52075270252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92191130417213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A404F2-2118-4DC4-9ADF-4C5F6A828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BFF76D-796F-4F6F-991E-376B9CF71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FCCECE-7390-4995-84C1-D0FBFCFC1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3F136C-7540-4D0F-9DFB-9DF3833D8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0BBF86-0DA9-47DF-BCC0-13E4CC1A3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11AAF9-3EED-4578-84AF-9D524EF28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9EA23E-E6B8-405B-BC75-4945FDB06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F3D783-D4F4-40DB-AF3D-FDEC5BC06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08544488100372</c:v>
                </c:pt>
                <c:pt idx="1">
                  <c:v>17.607090328927409</c:v>
                </c:pt>
                <c:pt idx="2">
                  <c:v>13.30728580567385</c:v>
                </c:pt>
                <c:pt idx="3">
                  <c:v>16.903730440327671</c:v>
                </c:pt>
                <c:pt idx="4">
                  <c:v>14.5497283558162</c:v>
                </c:pt>
                <c:pt idx="5">
                  <c:v>11.34354443716718</c:v>
                </c:pt>
                <c:pt idx="6">
                  <c:v>13.989592157811931</c:v>
                </c:pt>
                <c:pt idx="7">
                  <c:v>14.68823330515638</c:v>
                </c:pt>
              </c:numCache>
            </c:numRef>
          </c:xVal>
          <c:yVal>
            <c:numRef>
              <c:f>Sheet1!$B$2:$B$9</c:f>
              <c:numCache>
                <c:formatCode>General</c:formatCode>
                <c:ptCount val="8"/>
                <c:pt idx="0">
                  <c:v>1.6795055057066179</c:v>
                </c:pt>
                <c:pt idx="1">
                  <c:v>0.92824382532529814</c:v>
                </c:pt>
                <c:pt idx="2">
                  <c:v>0.4920305705464636</c:v>
                </c:pt>
                <c:pt idx="3">
                  <c:v>1.297696002981374</c:v>
                </c:pt>
                <c:pt idx="4">
                  <c:v>1.2263171224309319</c:v>
                </c:pt>
                <c:pt idx="5">
                  <c:v>1.2594153069931471</c:v>
                </c:pt>
                <c:pt idx="6">
                  <c:v>0.70405171083394658</c:v>
                </c:pt>
                <c:pt idx="7">
                  <c:v>1.0222361831222639</c:v>
                </c:pt>
              </c:numCache>
            </c:numRef>
          </c:yVal>
          <c:bubbleSize>
            <c:numRef>
              <c:f>Sheet1!$C$2:$C$9</c:f>
              <c:numCache>
                <c:formatCode>General</c:formatCode>
                <c:ptCount val="8"/>
                <c:pt idx="0">
                  <c:v>17561781</c:v>
                </c:pt>
                <c:pt idx="1">
                  <c:v>9110067</c:v>
                </c:pt>
                <c:pt idx="2">
                  <c:v>6302956</c:v>
                </c:pt>
                <c:pt idx="3">
                  <c:v>4135261</c:v>
                </c:pt>
                <c:pt idx="4">
                  <c:v>2123722</c:v>
                </c:pt>
                <c:pt idx="5">
                  <c:v>1593405</c:v>
                </c:pt>
                <c:pt idx="6">
                  <c:v>1502748</c:v>
                </c:pt>
                <c:pt idx="7">
                  <c:v>86880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Amazon</c:v>
                  </c:pt>
                  <c:pt idx="3">
                    <c:v>Hydro Silk</c:v>
                  </c:pt>
                  <c:pt idx="4">
                    <c:v>Flamingo</c:v>
                  </c:pt>
                  <c:pt idx="5">
                    <c:v>Billie</c:v>
                  </c:pt>
                  <c:pt idx="6">
                    <c:v>Quattro</c:v>
                  </c:pt>
                  <c:pt idx="7">
                    <c:v>Jo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76303898451211</c:v>
                </c:pt>
                <c:pt idx="6">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121092460603689</c:v>
                </c:pt>
                <c:pt idx="2">
                  <c:v>9.9328793192182019</c:v>
                </c:pt>
                <c:pt idx="3">
                  <c:v>6.8321294542545559</c:v>
                </c:pt>
                <c:pt idx="4">
                  <c:v>9.28493815305697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220595720896812</c:v>
                </c:pt>
                <c:pt idx="1">
                  <c:v>4.784912457146353</c:v>
                </c:pt>
                <c:pt idx="3">
                  <c:v>4.68271205769342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255692169600882</c:v>
                </c:pt>
                <c:pt idx="1">
                  <c:v>4.7720341506998905</c:v>
                </c:pt>
                <c:pt idx="2">
                  <c:v>9.9706687220668719</c:v>
                </c:pt>
                <c:pt idx="3">
                  <c:v>7.0174606833923043</c:v>
                </c:pt>
                <c:pt idx="4">
                  <c:v>9.76408633718107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20.257716868061696</c:v>
                </c:pt>
                <c:pt idx="1">
                  <c:v>8.49887869349977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9919205469168242</c:v>
                </c:pt>
                <c:pt idx="2">
                  <c:v>16.962004044546983</c:v>
                </c:pt>
                <c:pt idx="3">
                  <c:v>8.6091678148658453</c:v>
                </c:pt>
                <c:pt idx="4">
                  <c:v>16.921087741327892</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B$2:$B$10</c:f>
              <c:numCache>
                <c:formatCode>General</c:formatCode>
                <c:ptCount val="9"/>
                <c:pt idx="0">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C$2:$C$10</c:f>
              <c:numCache>
                <c:formatCode>General</c:formatCode>
                <c:ptCount val="9"/>
                <c:pt idx="2">
                  <c:v>10.900006697475051</c:v>
                </c:pt>
                <c:pt idx="3">
                  <c:v>5.9794569067296344</c:v>
                </c:pt>
                <c:pt idx="8">
                  <c:v>2.94753156915848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D$2:$D$10</c:f>
              <c:numCache>
                <c:formatCode>General</c:formatCode>
                <c:ptCount val="9"/>
                <c:pt idx="0">
                  <c:v>6.4132614053753496</c:v>
                </c:pt>
                <c:pt idx="1">
                  <c:v>5.4013524447280306</c:v>
                </c:pt>
                <c:pt idx="5">
                  <c:v>4.9601000086214331</c:v>
                </c:pt>
                <c:pt idx="6">
                  <c:v>2.6698367509730301</c:v>
                </c:pt>
                <c:pt idx="7">
                  <c:v>10.9354074597843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E$2:$E$10</c:f>
              <c:numCache>
                <c:formatCode>General</c:formatCode>
                <c:ptCount val="9"/>
                <c:pt idx="2">
                  <c:v>9.9617598396756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F$2:$F$10</c:f>
              <c:numCache>
                <c:formatCode>General</c:formatCode>
                <c:ptCount val="9"/>
                <c:pt idx="0">
                  <c:v>8.9058967885037408</c:v>
                </c:pt>
                <c:pt idx="4">
                  <c:v>5.16500473169534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G$2:$G$10</c:f>
              <c:numCache>
                <c:formatCode>General</c:formatCode>
                <c:ptCount val="9"/>
                <c:pt idx="0">
                  <c:v>10.10067299714206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71049648305169</c:v>
                </c:pt>
                <c:pt idx="1">
                  <c:v>6.9195257715621405</c:v>
                </c:pt>
                <c:pt idx="3">
                  <c:v>9.9526616234278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23532554546374</c:v>
                </c:pt>
                <c:pt idx="3">
                  <c:v>10.585489519627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6686397081272517</c:v>
                </c:pt>
                <c:pt idx="1">
                  <c:v>5.9506309505677999</c:v>
                </c:pt>
                <c:pt idx="3">
                  <c:v>14.540039631658701</c:v>
                </c:pt>
                <c:pt idx="4">
                  <c:v>6.05854466206271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89682216834534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073994122808241</c:v>
                </c:pt>
                <c:pt idx="2">
                  <c:v>23.906248229762646</c:v>
                </c:pt>
                <c:pt idx="3">
                  <c:v>18.083994285432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29137184496778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10.06944546835144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1A2679-05C0-4A0B-98EE-8AF1257D9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3B2A60-C81E-4CC1-89EC-7273D868C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902E84-A121-4948-A8FA-DE445C763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567178-2124-4C05-B006-04C3C42B6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D55D58-ACDD-4B5F-B597-C12418DDA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47377D-027F-413D-8DD9-B8379E9FA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FDEBD3-CB89-4394-9394-D301E2EBF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C66669-62C2-4CC1-AD64-7828C857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415309872364059</c:v>
                </c:pt>
                <c:pt idx="1">
                  <c:v>16.189368134335059</c:v>
                </c:pt>
                <c:pt idx="2">
                  <c:v>10.62121405932432</c:v>
                </c:pt>
                <c:pt idx="3">
                  <c:v>16.86528571157459</c:v>
                </c:pt>
                <c:pt idx="4">
                  <c:v>14.833356023228189</c:v>
                </c:pt>
                <c:pt idx="5">
                  <c:v>16.451370715516688</c:v>
                </c:pt>
                <c:pt idx="6">
                  <c:v>13.71086872865458</c:v>
                </c:pt>
              </c:numCache>
            </c:numRef>
          </c:xVal>
          <c:yVal>
            <c:numRef>
              <c:f>Sheet1!$B$2:$B$8</c:f>
              <c:numCache>
                <c:formatCode>General</c:formatCode>
                <c:ptCount val="7"/>
                <c:pt idx="0">
                  <c:v>1.408494669017526</c:v>
                </c:pt>
                <c:pt idx="1">
                  <c:v>1.11117564045775</c:v>
                </c:pt>
                <c:pt idx="2">
                  <c:v>0.33461991608528707</c:v>
                </c:pt>
                <c:pt idx="3">
                  <c:v>0.8232550814268329</c:v>
                </c:pt>
                <c:pt idx="4">
                  <c:v>1.123412933468467</c:v>
                </c:pt>
                <c:pt idx="5">
                  <c:v>0.73370427369559899</c:v>
                </c:pt>
                <c:pt idx="6">
                  <c:v>0.6192263807006827</c:v>
                </c:pt>
              </c:numCache>
            </c:numRef>
          </c:yVal>
          <c:bubbleSize>
            <c:numRef>
              <c:f>Sheet1!$C$2:$C$8</c:f>
              <c:numCache>
                <c:formatCode>General</c:formatCode>
                <c:ptCount val="7"/>
                <c:pt idx="0">
                  <c:v>31922646</c:v>
                </c:pt>
                <c:pt idx="1">
                  <c:v>5408706</c:v>
                </c:pt>
                <c:pt idx="2">
                  <c:v>3736490</c:v>
                </c:pt>
                <c:pt idx="3">
                  <c:v>3554730</c:v>
                </c:pt>
                <c:pt idx="4">
                  <c:v>3159757</c:v>
                </c:pt>
                <c:pt idx="5">
                  <c:v>2061949</c:v>
                </c:pt>
                <c:pt idx="6">
                  <c:v>114014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19A91-04A2-4A48-AA60-65B8A1289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10274B8-C6F0-4D4A-A3B1-571259AB0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1973927-02ED-4F48-AEFF-667845B85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F98B90-8976-4684-BE7A-1EE932613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11B916-D3C4-4376-B3B1-4ACA8E88D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9C5AE1-FE3B-4068-BCF2-2E979B47E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EEFEA8-36DD-4B30-8E5E-D24390258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FFCB9C-A709-447A-955D-1CEA6BECB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333333333333333</c:v>
                </c:pt>
              </c:numCache>
            </c:numRef>
          </c:xVal>
          <c:yVal>
            <c:numRef>
              <c:f>Sheet1!$B$2:$B$2</c:f>
              <c:numCache>
                <c:formatCode>General</c:formatCode>
                <c:ptCount val="1"/>
                <c:pt idx="0">
                  <c:v>1</c:v>
                </c:pt>
              </c:numCache>
            </c:numRef>
          </c:yVal>
          <c:bubbleSize>
            <c:numRef>
              <c:f>Sheet1!$C$2:$C$2</c:f>
              <c:numCache>
                <c:formatCode>General</c:formatCode>
                <c:ptCount val="1"/>
                <c:pt idx="0">
                  <c:v>19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E1B1B9-A539-4AFD-BE47-2C15BB674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3853E4-2EBC-4BE4-A9F2-025611E24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8BB9FF-956A-48AC-BFBC-ACA166099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422529-866B-488B-BFDE-96E4FD400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BFEFC1-47D0-4824-ACF5-6981FD3FA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9CEBD9-6ADD-4F1F-A62E-B7A4E073B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EE4927A-D3BA-49C2-923A-79FF13BF0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B6722E-9E5D-4EF2-8B90-3CA48188F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7802343654494</c:v>
                </c:pt>
                <c:pt idx="1">
                  <c:v>14.052419181523391</c:v>
                </c:pt>
                <c:pt idx="2">
                  <c:v>11.537165123005961</c:v>
                </c:pt>
                <c:pt idx="3">
                  <c:v>13.4732157042101</c:v>
                </c:pt>
                <c:pt idx="4">
                  <c:v>12.615574188703951</c:v>
                </c:pt>
                <c:pt idx="5">
                  <c:v>12.701079181655301</c:v>
                </c:pt>
              </c:numCache>
            </c:numRef>
          </c:xVal>
          <c:yVal>
            <c:numRef>
              <c:f>Sheet1!$B$2:$B$7</c:f>
              <c:numCache>
                <c:formatCode>General</c:formatCode>
                <c:ptCount val="6"/>
                <c:pt idx="0">
                  <c:v>1.2180842150610209</c:v>
                </c:pt>
                <c:pt idx="1">
                  <c:v>0.9449974896942458</c:v>
                </c:pt>
                <c:pt idx="2">
                  <c:v>0.89602992048107177</c:v>
                </c:pt>
                <c:pt idx="3">
                  <c:v>0.93392509614982866</c:v>
                </c:pt>
                <c:pt idx="4">
                  <c:v>0.85999089793249583</c:v>
                </c:pt>
                <c:pt idx="5">
                  <c:v>0.42616812765365852</c:v>
                </c:pt>
              </c:numCache>
            </c:numRef>
          </c:yVal>
          <c:bubbleSize>
            <c:numRef>
              <c:f>Sheet1!$C$2:$C$7</c:f>
              <c:numCache>
                <c:formatCode>General</c:formatCode>
                <c:ptCount val="6"/>
                <c:pt idx="0">
                  <c:v>13996100</c:v>
                </c:pt>
                <c:pt idx="1">
                  <c:v>2942422</c:v>
                </c:pt>
                <c:pt idx="2">
                  <c:v>2803958</c:v>
                </c:pt>
                <c:pt idx="3">
                  <c:v>2798589</c:v>
                </c:pt>
                <c:pt idx="4">
                  <c:v>2620936</c:v>
                </c:pt>
                <c:pt idx="5">
                  <c:v>9144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A3AAEE-F3C7-40D2-8FD7-F6E11EBA3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CECE05-4DDE-4AC7-80BE-7E4DBAA9F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6F88B9-3272-4D92-AE6C-D5B3ACBB2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0E6861-24DF-416D-8FF8-706D89D50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58FABC-1EAA-48CD-AEFC-B9C7A09C8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3B88F8-5B54-4A62-A673-BF7E4831F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C14F52-56CA-49DD-B0E7-E1C0E03EC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6907B2-1A68-496A-A305-D8D16537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93499021617961</c:v>
                </c:pt>
                <c:pt idx="1">
                  <c:v>23.782970711297072</c:v>
                </c:pt>
                <c:pt idx="2">
                  <c:v>12.93907577418471</c:v>
                </c:pt>
                <c:pt idx="3">
                  <c:v>13.17437093497157</c:v>
                </c:pt>
                <c:pt idx="4">
                  <c:v>19.506508614342511</c:v>
                </c:pt>
                <c:pt idx="5">
                  <c:v>15.746828396472409</c:v>
                </c:pt>
              </c:numCache>
            </c:numRef>
          </c:xVal>
          <c:yVal>
            <c:numRef>
              <c:f>Sheet1!$B$2:$B$7</c:f>
              <c:numCache>
                <c:formatCode>General</c:formatCode>
                <c:ptCount val="6"/>
                <c:pt idx="0">
                  <c:v>1.177158880988294</c:v>
                </c:pt>
                <c:pt idx="1">
                  <c:v>1.236389478277802</c:v>
                </c:pt>
                <c:pt idx="2">
                  <c:v>0.61267990446387732</c:v>
                </c:pt>
                <c:pt idx="3">
                  <c:v>0.64795154801082755</c:v>
                </c:pt>
                <c:pt idx="4">
                  <c:v>1.138680373035692</c:v>
                </c:pt>
                <c:pt idx="5">
                  <c:v>0.51295600674140052</c:v>
                </c:pt>
              </c:numCache>
            </c:numRef>
          </c:yVal>
          <c:bubbleSize>
            <c:numRef>
              <c:f>Sheet1!$C$2:$C$7</c:f>
              <c:numCache>
                <c:formatCode>General</c:formatCode>
                <c:ptCount val="6"/>
                <c:pt idx="0">
                  <c:v>14426543</c:v>
                </c:pt>
                <c:pt idx="1">
                  <c:v>4547304</c:v>
                </c:pt>
                <c:pt idx="2">
                  <c:v>2266305</c:v>
                </c:pt>
                <c:pt idx="3">
                  <c:v>2191662</c:v>
                </c:pt>
                <c:pt idx="4">
                  <c:v>1324687</c:v>
                </c:pt>
                <c:pt idx="5">
                  <c:v>53745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7FD557-887F-4E11-8C49-4244DF98E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F58611-5255-47F9-A55A-DA51CA957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59F198-6A2E-45C2-BDD6-F258C6E77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3741B2F-DDAF-48F6-B2CE-2CA238DAB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351676-2015-481E-94D4-AE77B6AB7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848A4F-116B-4303-91CB-2A23F6136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7E7B1A-28E0-4EF9-A25F-0DE938DAB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EC1034-9D33-4AF0-9B9F-D99D5443E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350877192982448</c:v>
                </c:pt>
                <c:pt idx="1">
                  <c:v>6.5343853095284299</c:v>
                </c:pt>
                <c:pt idx="2">
                  <c:v>4.8721538864171681</c:v>
                </c:pt>
              </c:numCache>
            </c:numRef>
          </c:xVal>
          <c:yVal>
            <c:numRef>
              <c:f>Sheet1!$B$2:$B$4</c:f>
              <c:numCache>
                <c:formatCode>General</c:formatCode>
                <c:ptCount val="3"/>
                <c:pt idx="0">
                  <c:v>0.87401422075847957</c:v>
                </c:pt>
                <c:pt idx="1">
                  <c:v>1.302548839157839</c:v>
                </c:pt>
                <c:pt idx="2">
                  <c:v>1.2944008225128509</c:v>
                </c:pt>
              </c:numCache>
            </c:numRef>
          </c:yVal>
          <c:bubbleSize>
            <c:numRef>
              <c:f>Sheet1!$C$2:$C$4</c:f>
              <c:numCache>
                <c:formatCode>General</c:formatCode>
                <c:ptCount val="3"/>
                <c:pt idx="0">
                  <c:v>1949892</c:v>
                </c:pt>
                <c:pt idx="1">
                  <c:v>1077494</c:v>
                </c:pt>
                <c:pt idx="2">
                  <c:v>148932</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9D9FEC-E9A2-4277-8D6C-57A36DCDA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2AE417-75DE-4F55-911B-6DB04FAFD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FBB38E-5ACB-485F-8034-944068075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1AFCA8-C455-496B-98B5-640EC431A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189B5-F8FB-4563-BD75-FBC546E88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E2367B-7F48-4EB1-B854-F50433279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72777F-EC32-4161-9A5D-9004B0680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142588-3DCC-4FC6-BCB8-2BDB5B9D3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8955360788660087</c:v>
                </c:pt>
                <c:pt idx="1">
                  <c:v>5.8892566111961031</c:v>
                </c:pt>
                <c:pt idx="2">
                  <c:v>3.7712664522883639</c:v>
                </c:pt>
                <c:pt idx="3">
                  <c:v>9.7219723341286297</c:v>
                </c:pt>
                <c:pt idx="4">
                  <c:v>10.3876235079656</c:v>
                </c:pt>
                <c:pt idx="5">
                  <c:v>12.27035523044559</c:v>
                </c:pt>
                <c:pt idx="6">
                  <c:v>3.6681644915483411</c:v>
                </c:pt>
                <c:pt idx="7">
                  <c:v>10.11616133975482</c:v>
                </c:pt>
                <c:pt idx="8">
                  <c:v>4.9491083951111996</c:v>
                </c:pt>
              </c:numCache>
            </c:numRef>
          </c:xVal>
          <c:yVal>
            <c:numRef>
              <c:f>Sheet1!$B$2:$B$10</c:f>
              <c:numCache>
                <c:formatCode>General</c:formatCode>
                <c:ptCount val="9"/>
                <c:pt idx="0">
                  <c:v>1.705300359202081</c:v>
                </c:pt>
                <c:pt idx="1">
                  <c:v>1.169261182453025</c:v>
                </c:pt>
                <c:pt idx="2">
                  <c:v>0.64433856662977651</c:v>
                </c:pt>
                <c:pt idx="3">
                  <c:v>2.3002784537747472</c:v>
                </c:pt>
                <c:pt idx="4">
                  <c:v>2.140166659686876</c:v>
                </c:pt>
                <c:pt idx="5">
                  <c:v>2.7216402608916068</c:v>
                </c:pt>
                <c:pt idx="6">
                  <c:v>0.20087388497872441</c:v>
                </c:pt>
                <c:pt idx="7">
                  <c:v>1.882464503415938</c:v>
                </c:pt>
                <c:pt idx="8">
                  <c:v>0.69748303608566464</c:v>
                </c:pt>
              </c:numCache>
            </c:numRef>
          </c:yVal>
          <c:bubbleSize>
            <c:numRef>
              <c:f>Sheet1!$C$2:$C$10</c:f>
              <c:numCache>
                <c:formatCode>General</c:formatCode>
                <c:ptCount val="9"/>
                <c:pt idx="0">
                  <c:v>6099847</c:v>
                </c:pt>
                <c:pt idx="1">
                  <c:v>2263524</c:v>
                </c:pt>
                <c:pt idx="2">
                  <c:v>2017175</c:v>
                </c:pt>
                <c:pt idx="3">
                  <c:v>1491370</c:v>
                </c:pt>
                <c:pt idx="4">
                  <c:v>1071286</c:v>
                </c:pt>
                <c:pt idx="5">
                  <c:v>1026587</c:v>
                </c:pt>
                <c:pt idx="6">
                  <c:v>990210</c:v>
                </c:pt>
                <c:pt idx="7">
                  <c:v>739370</c:v>
                </c:pt>
                <c:pt idx="8">
                  <c:v>32111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Bic Silky Touch</c:v>
                  </c:pt>
                  <c:pt idx="7">
                    <c:v>Joy</c:v>
                  </c:pt>
                  <c:pt idx="8">
                    <c:v>Evribeaut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1DA3BB-69FE-423E-8E27-090CE58F3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75210F-F9CB-4FA1-A021-51B57BC4F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D9CABD-31EF-4EEC-BA85-807846D41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FABB68-58C6-4B7D-88DA-F12789255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4D1D46-93CE-4DF1-B726-C5758865E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3679BB-DB00-43FC-8E7F-F102F88E8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CBD5B9-5DBD-421C-BBA2-4077CB339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8D09E6-6004-4AB4-98ED-6596D419C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0923356902755</c:v>
                </c:pt>
                <c:pt idx="1">
                  <c:v>9.9189749301666783</c:v>
                </c:pt>
                <c:pt idx="2">
                  <c:v>11.4863182572307</c:v>
                </c:pt>
                <c:pt idx="3">
                  <c:v>9.9677480585530809</c:v>
                </c:pt>
                <c:pt idx="4">
                  <c:v>10.368166514662409</c:v>
                </c:pt>
                <c:pt idx="5">
                  <c:v>5.7501761566008049</c:v>
                </c:pt>
                <c:pt idx="6">
                  <c:v>10.545755087662251</c:v>
                </c:pt>
              </c:numCache>
            </c:numRef>
          </c:xVal>
          <c:yVal>
            <c:numRef>
              <c:f>Sheet1!$B$2:$B$8</c:f>
              <c:numCache>
                <c:formatCode>General</c:formatCode>
                <c:ptCount val="7"/>
                <c:pt idx="0">
                  <c:v>1.1490534060953981</c:v>
                </c:pt>
                <c:pt idx="1">
                  <c:v>0.99923867090834506</c:v>
                </c:pt>
                <c:pt idx="2">
                  <c:v>1.252125471528883</c:v>
                </c:pt>
                <c:pt idx="3">
                  <c:v>0.76784739600709473</c:v>
                </c:pt>
                <c:pt idx="4">
                  <c:v>0.80689067290922345</c:v>
                </c:pt>
                <c:pt idx="5">
                  <c:v>0.57927961092830305</c:v>
                </c:pt>
                <c:pt idx="6">
                  <c:v>0.93308169712045308</c:v>
                </c:pt>
              </c:numCache>
            </c:numRef>
          </c:yVal>
          <c:bubbleSize>
            <c:numRef>
              <c:f>Sheet1!$C$2:$C$8</c:f>
              <c:numCache>
                <c:formatCode>General</c:formatCode>
                <c:ptCount val="7"/>
                <c:pt idx="0">
                  <c:v>36455929</c:v>
                </c:pt>
                <c:pt idx="1">
                  <c:v>11309764</c:v>
                </c:pt>
                <c:pt idx="2">
                  <c:v>10710383</c:v>
                </c:pt>
                <c:pt idx="3">
                  <c:v>10187507</c:v>
                </c:pt>
                <c:pt idx="4">
                  <c:v>7923695</c:v>
                </c:pt>
                <c:pt idx="5">
                  <c:v>2382896</c:v>
                </c:pt>
                <c:pt idx="6">
                  <c:v>233502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56B7DE-BA43-4DA6-9350-5F1364885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2570A-12FB-4AA1-88AE-405715BE1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B78AF2-AD62-4D18-A751-CF7B3284E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5F201C-1035-4C37-88BE-CC51C3F8F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D002B4-73B1-42FC-A84D-2CD325EE3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9E5410-CF5E-4A97-AC09-93BA4FCB7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7E2BBB-BC82-4BBE-A284-CEEA81602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5E8B0F-FB11-49A3-BFCE-94E754C01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987065000803629</c:v>
                </c:pt>
                <c:pt idx="1">
                  <c:v>11.46491011000932</c:v>
                </c:pt>
                <c:pt idx="2">
                  <c:v>15.86893482898002</c:v>
                </c:pt>
                <c:pt idx="3">
                  <c:v>10.61205582812965</c:v>
                </c:pt>
                <c:pt idx="4">
                  <c:v>15.45898403422289</c:v>
                </c:pt>
                <c:pt idx="5">
                  <c:v>7.8396232672282284</c:v>
                </c:pt>
                <c:pt idx="6">
                  <c:v>11.31573947007284</c:v>
                </c:pt>
              </c:numCache>
            </c:numRef>
          </c:xVal>
          <c:yVal>
            <c:numRef>
              <c:f>Sheet1!$B$2:$B$8</c:f>
              <c:numCache>
                <c:formatCode>General</c:formatCode>
                <c:ptCount val="7"/>
                <c:pt idx="0">
                  <c:v>1.3466997722302789</c:v>
                </c:pt>
                <c:pt idx="1">
                  <c:v>0.78134606218159675</c:v>
                </c:pt>
                <c:pt idx="2">
                  <c:v>1.430419724969477</c:v>
                </c:pt>
                <c:pt idx="3">
                  <c:v>0.72937428057254317</c:v>
                </c:pt>
                <c:pt idx="4">
                  <c:v>1.1376738035114899</c:v>
                </c:pt>
                <c:pt idx="5">
                  <c:v>0.53476033329557737</c:v>
                </c:pt>
                <c:pt idx="6">
                  <c:v>0.77242074160614171</c:v>
                </c:pt>
              </c:numCache>
            </c:numRef>
          </c:yVal>
          <c:bubbleSize>
            <c:numRef>
              <c:f>Sheet1!$C$2:$C$8</c:f>
              <c:numCache>
                <c:formatCode>General</c:formatCode>
                <c:ptCount val="7"/>
                <c:pt idx="0">
                  <c:v>37154729</c:v>
                </c:pt>
                <c:pt idx="1">
                  <c:v>16169364</c:v>
                </c:pt>
                <c:pt idx="2">
                  <c:v>15295495</c:v>
                </c:pt>
                <c:pt idx="3">
                  <c:v>12562297</c:v>
                </c:pt>
                <c:pt idx="4">
                  <c:v>7353916</c:v>
                </c:pt>
                <c:pt idx="5">
                  <c:v>5909900</c:v>
                </c:pt>
                <c:pt idx="6">
                  <c:v>246546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B4B4F4-AA13-40F3-A572-967F0B3F7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A1A1A3-A8A7-4927-A472-0D2F12F25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EBC566-DDCA-4D1A-97B4-1A2D5FAC1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1E8F2F-FF8B-475E-BEE0-5F4F446AD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D43FFF-D803-4015-AF5C-0BA5BBF49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BCE733-E2B8-4372-A70C-08B4B5CED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D534BD-1702-496D-BC1C-1C55E6925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B0FAB2-BFC4-475D-8A96-C40F263E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647471499561532</c:v>
                </c:pt>
                <c:pt idx="1">
                  <c:v>6.081800643086817</c:v>
                </c:pt>
                <c:pt idx="2">
                  <c:v>15.87177950868784</c:v>
                </c:pt>
              </c:numCache>
            </c:numRef>
          </c:xVal>
          <c:yVal>
            <c:numRef>
              <c:f>Sheet1!$B$2:$B$4</c:f>
              <c:numCache>
                <c:formatCode>General</c:formatCode>
                <c:ptCount val="3"/>
                <c:pt idx="0">
                  <c:v>1.0347813085030799</c:v>
                </c:pt>
                <c:pt idx="1">
                  <c:v>0.98731001283918718</c:v>
                </c:pt>
                <c:pt idx="2">
                  <c:v>0.85744500817495084</c:v>
                </c:pt>
              </c:numCache>
            </c:numRef>
          </c:yVal>
          <c:bubbleSize>
            <c:numRef>
              <c:f>Sheet1!$C$2:$C$4</c:f>
              <c:numCache>
                <c:formatCode>General</c:formatCode>
                <c:ptCount val="3"/>
                <c:pt idx="0">
                  <c:v>181928</c:v>
                </c:pt>
                <c:pt idx="1">
                  <c:v>47286</c:v>
                </c:pt>
                <c:pt idx="2">
                  <c:v>26490</c:v>
                </c:pt>
              </c:numCache>
            </c:numRef>
          </c:bubbleSize>
          <c:bubble3D val="0"/>
          <c:extLst>
            <c:ext xmlns:c15="http://schemas.microsoft.com/office/drawing/2012/chart" uri="{02D57815-91ED-43cb-92C2-25804820EDAC}">
              <c15:datalabelsRange>
                <c15:f>Sheet1!$E$2:$E$10</c15:f>
                <c15:dlblRangeCache>
                  <c:ptCount val="9"/>
                  <c:pt idx="0">
                    <c:v>Bic Soleil</c:v>
                  </c:pt>
                  <c:pt idx="1">
                    <c:v>Intuition</c:v>
                  </c:pt>
                  <c:pt idx="2">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1BAFCB-010F-4032-9311-9D7267DCA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3E6BDA-7F94-41B3-A337-69C596615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88FA9F-A0B6-48D8-AD22-8B5D68F88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9FC91F-39CA-4EE1-A120-A5D43CB6F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7D53DF-BC15-4963-9946-58D3B56A4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619AAE-F310-4A7A-A49A-56ACA596D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C74E35-F8D4-4253-A79D-CAF04FFC6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DCD519-5C76-4A5F-ABF2-0EAA96C27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44348058117264</c:v>
                </c:pt>
                <c:pt idx="1">
                  <c:v>13.417592303923749</c:v>
                </c:pt>
                <c:pt idx="2">
                  <c:v>17.25529139471789</c:v>
                </c:pt>
                <c:pt idx="3">
                  <c:v>14.07877499793879</c:v>
                </c:pt>
                <c:pt idx="4">
                  <c:v>11.10979118041609</c:v>
                </c:pt>
                <c:pt idx="5">
                  <c:v>13.55217104364845</c:v>
                </c:pt>
                <c:pt idx="6">
                  <c:v>15.09633573087161</c:v>
                </c:pt>
                <c:pt idx="7">
                  <c:v>14.519237344381651</c:v>
                </c:pt>
              </c:numCache>
            </c:numRef>
          </c:xVal>
          <c:yVal>
            <c:numRef>
              <c:f>Sheet1!$B$2:$B$9</c:f>
              <c:numCache>
                <c:formatCode>General</c:formatCode>
                <c:ptCount val="8"/>
                <c:pt idx="0">
                  <c:v>1.593831020610307</c:v>
                </c:pt>
                <c:pt idx="1">
                  <c:v>0.47366025219072472</c:v>
                </c:pt>
                <c:pt idx="2">
                  <c:v>1.259008866610108</c:v>
                </c:pt>
                <c:pt idx="3">
                  <c:v>1.151691367241487</c:v>
                </c:pt>
                <c:pt idx="4">
                  <c:v>1.331369681291686</c:v>
                </c:pt>
                <c:pt idx="5">
                  <c:v>0.7246646354609021</c:v>
                </c:pt>
                <c:pt idx="6">
                  <c:v>0.95203513716178789</c:v>
                </c:pt>
                <c:pt idx="7">
                  <c:v>1.148217114287875</c:v>
                </c:pt>
              </c:numCache>
            </c:numRef>
          </c:yVal>
          <c:bubbleSize>
            <c:numRef>
              <c:f>Sheet1!$C$2:$C$9</c:f>
              <c:numCache>
                <c:formatCode>General</c:formatCode>
                <c:ptCount val="8"/>
                <c:pt idx="0">
                  <c:v>14642767</c:v>
                </c:pt>
                <c:pt idx="1">
                  <c:v>6025304</c:v>
                </c:pt>
                <c:pt idx="2">
                  <c:v>3809675</c:v>
                </c:pt>
                <c:pt idx="3">
                  <c:v>3073650</c:v>
                </c:pt>
                <c:pt idx="4">
                  <c:v>1432752</c:v>
                </c:pt>
                <c:pt idx="5">
                  <c:v>1191019</c:v>
                </c:pt>
                <c:pt idx="6">
                  <c:v>799668</c:v>
                </c:pt>
                <c:pt idx="7">
                  <c:v>721911</c:v>
                </c:pt>
              </c:numCache>
            </c:numRef>
          </c:bubbleSize>
          <c:bubble3D val="0"/>
          <c:extLst>
            <c:ext xmlns:c15="http://schemas.microsoft.com/office/drawing/2012/chart" uri="{02D57815-91ED-43cb-92C2-25804820EDAC}">
              <c15:datalabelsRange>
                <c15:f>Sheet1!$E$2:$E$10</c15:f>
                <c15:dlblRangeCache>
                  <c:ptCount val="9"/>
                  <c:pt idx="0">
                    <c:v>Gillette Venus</c:v>
                  </c:pt>
                  <c:pt idx="1">
                    <c:v>Amazon</c:v>
                  </c:pt>
                  <c:pt idx="2">
                    <c:v>Hydro Silk</c:v>
                  </c:pt>
                  <c:pt idx="3">
                    <c:v>Intuition</c:v>
                  </c:pt>
                  <c:pt idx="4">
                    <c:v>Billie</c:v>
                  </c:pt>
                  <c:pt idx="5">
                    <c:v>Quattro</c:v>
                  </c:pt>
                  <c:pt idx="6">
                    <c:v>Joy</c:v>
                  </c:pt>
                  <c:pt idx="7">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F4A990-7871-47BF-8E29-2E2B3CAE7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4018C9-65D6-4AC8-AB55-59827607D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6BEAE3-5052-4FC1-A363-BB6449AAE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95F714-AF83-4FA3-91BD-140FCF1A8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2C30B1-1B5C-443A-9B79-C75E4EA6F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1D3B9F-BB8E-49A7-94A4-4929370FD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F484FE-931A-43D5-8E2D-3500D713C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C0068F-3AEA-4F0B-8B8B-6FE6151BC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38500204318792</c:v>
                </c:pt>
                <c:pt idx="1">
                  <c:v>10.5631284175833</c:v>
                </c:pt>
                <c:pt idx="2">
                  <c:v>14.95026986344446</c:v>
                </c:pt>
                <c:pt idx="3">
                  <c:v>21.828134333930709</c:v>
                </c:pt>
                <c:pt idx="4">
                  <c:v>14.82107059937062</c:v>
                </c:pt>
                <c:pt idx="5">
                  <c:v>16.67121478108216</c:v>
                </c:pt>
                <c:pt idx="6">
                  <c:v>12.456583610782941</c:v>
                </c:pt>
              </c:numCache>
            </c:numRef>
          </c:xVal>
          <c:yVal>
            <c:numRef>
              <c:f>Sheet1!$B$2:$B$8</c:f>
              <c:numCache>
                <c:formatCode>General</c:formatCode>
                <c:ptCount val="7"/>
                <c:pt idx="0">
                  <c:v>1.3992739689060649</c:v>
                </c:pt>
                <c:pt idx="1">
                  <c:v>0.33173696321990581</c:v>
                </c:pt>
                <c:pt idx="2">
                  <c:v>1.129393441435991</c:v>
                </c:pt>
                <c:pt idx="3">
                  <c:v>1.0718762189014639</c:v>
                </c:pt>
                <c:pt idx="4">
                  <c:v>0.89833385803240173</c:v>
                </c:pt>
                <c:pt idx="5">
                  <c:v>0.72996672695766263</c:v>
                </c:pt>
                <c:pt idx="6">
                  <c:v>0.67342106373355337</c:v>
                </c:pt>
              </c:numCache>
            </c:numRef>
          </c:yVal>
          <c:bubbleSize>
            <c:numRef>
              <c:f>Sheet1!$C$2:$C$8</c:f>
              <c:numCache>
                <c:formatCode>General</c:formatCode>
                <c:ptCount val="7"/>
                <c:pt idx="0">
                  <c:v>27111829</c:v>
                </c:pt>
                <c:pt idx="1">
                  <c:v>3666483</c:v>
                </c:pt>
                <c:pt idx="2">
                  <c:v>2900158</c:v>
                </c:pt>
                <c:pt idx="3">
                  <c:v>2338579</c:v>
                </c:pt>
                <c:pt idx="4">
                  <c:v>1832077</c:v>
                </c:pt>
                <c:pt idx="5">
                  <c:v>959145</c:v>
                </c:pt>
                <c:pt idx="6">
                  <c:v>46393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Flamingo</c:v>
                  </c:pt>
                  <c:pt idx="5">
                    <c:v>Joy</c:v>
                  </c:pt>
                  <c:pt idx="6">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483C2-E0B5-4A1E-B9D3-401230A29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594DA9C-784A-4205-8702-5FB5D3C43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E917E8-1B24-4355-8D67-74EB0AFCA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C633FB-FC6C-4A00-8C7D-319B2CB29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E65983-696D-4FEE-9D6C-9AEEE4420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0BD675-1BB0-4446-9F90-39749F204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2334C4-DFA6-4753-86C0-7DC8E1CDD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F9D8140-C85F-461D-92E2-3C285A1D6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333333333333333</c:v>
                </c:pt>
              </c:numCache>
            </c:numRef>
          </c:xVal>
          <c:yVal>
            <c:numRef>
              <c:f>Sheet1!$B$2:$B$2</c:f>
              <c:numCache>
                <c:formatCode>General</c:formatCode>
                <c:ptCount val="1"/>
                <c:pt idx="0">
                  <c:v>1</c:v>
                </c:pt>
              </c:numCache>
            </c:numRef>
          </c:yVal>
          <c:bubbleSize>
            <c:numRef>
              <c:f>Sheet1!$C$2:$C$2</c:f>
              <c:numCache>
                <c:formatCode>General</c:formatCode>
                <c:ptCount val="1"/>
                <c:pt idx="0">
                  <c:v>19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6948DF-D34F-4079-9D49-9C28EC994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476FB2-87E9-4190-8794-4C1246BD1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3C1EC0-BFF6-459D-8C0C-7BD7F6683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63D9AA-4A09-497C-BA9A-2A6A688D8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66430A-AD49-40EF-AAE6-F4ED750D1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6D08F8-0680-4F5D-AECE-00D50DB1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9F7E659-4E0C-448A-B028-FB5D4CE0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2322FE-3647-484C-A095-DCF704CA8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7802343654494</c:v>
                </c:pt>
                <c:pt idx="1">
                  <c:v>14.052419181523391</c:v>
                </c:pt>
                <c:pt idx="2">
                  <c:v>11.537165123005961</c:v>
                </c:pt>
                <c:pt idx="3">
                  <c:v>13.4732157042101</c:v>
                </c:pt>
                <c:pt idx="4">
                  <c:v>12.615574188703951</c:v>
                </c:pt>
                <c:pt idx="5">
                  <c:v>12.701079181655301</c:v>
                </c:pt>
              </c:numCache>
            </c:numRef>
          </c:xVal>
          <c:yVal>
            <c:numRef>
              <c:f>Sheet1!$B$2:$B$7</c:f>
              <c:numCache>
                <c:formatCode>General</c:formatCode>
                <c:ptCount val="6"/>
                <c:pt idx="0">
                  <c:v>1.2180842150610209</c:v>
                </c:pt>
                <c:pt idx="1">
                  <c:v>0.9449974896942458</c:v>
                </c:pt>
                <c:pt idx="2">
                  <c:v>0.89602992048107177</c:v>
                </c:pt>
                <c:pt idx="3">
                  <c:v>0.93392509614982866</c:v>
                </c:pt>
                <c:pt idx="4">
                  <c:v>0.85999089793249583</c:v>
                </c:pt>
                <c:pt idx="5">
                  <c:v>0.42616812765365852</c:v>
                </c:pt>
              </c:numCache>
            </c:numRef>
          </c:yVal>
          <c:bubbleSize>
            <c:numRef>
              <c:f>Sheet1!$C$2:$C$7</c:f>
              <c:numCache>
                <c:formatCode>General</c:formatCode>
                <c:ptCount val="6"/>
                <c:pt idx="0">
                  <c:v>13996100</c:v>
                </c:pt>
                <c:pt idx="1">
                  <c:v>2942422</c:v>
                </c:pt>
                <c:pt idx="2">
                  <c:v>2803958</c:v>
                </c:pt>
                <c:pt idx="3">
                  <c:v>2798589</c:v>
                </c:pt>
                <c:pt idx="4">
                  <c:v>2620936</c:v>
                </c:pt>
                <c:pt idx="5">
                  <c:v>9144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E6B11C-C7CE-4F4F-8E16-18C1E2119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8F8C5B-5E58-4577-92FF-010402BC3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3B765C-E4BD-4655-9AB3-6F850A62F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810EB1-A5EE-47D1-8DB5-481CEEB70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0912F4-C3D9-454D-A9D8-1BC5066EB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B59D7C-2B5D-413B-A05E-43DCB6B3C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9EA8A5-9FFB-4B5C-B755-B00E56FC7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E0DA14-6EE4-4AEB-84C7-3F92937E4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93499021617961</c:v>
                </c:pt>
                <c:pt idx="1">
                  <c:v>23.782970711297072</c:v>
                </c:pt>
                <c:pt idx="2">
                  <c:v>12.93907577418471</c:v>
                </c:pt>
                <c:pt idx="3">
                  <c:v>13.17437093497157</c:v>
                </c:pt>
                <c:pt idx="4">
                  <c:v>19.506508614342511</c:v>
                </c:pt>
                <c:pt idx="5">
                  <c:v>15.746828396472409</c:v>
                </c:pt>
              </c:numCache>
            </c:numRef>
          </c:xVal>
          <c:yVal>
            <c:numRef>
              <c:f>Sheet1!$B$2:$B$7</c:f>
              <c:numCache>
                <c:formatCode>General</c:formatCode>
                <c:ptCount val="6"/>
                <c:pt idx="0">
                  <c:v>1.177158880988294</c:v>
                </c:pt>
                <c:pt idx="1">
                  <c:v>1.236389478277802</c:v>
                </c:pt>
                <c:pt idx="2">
                  <c:v>0.61267990446387732</c:v>
                </c:pt>
                <c:pt idx="3">
                  <c:v>0.64795154801082755</c:v>
                </c:pt>
                <c:pt idx="4">
                  <c:v>1.138680373035692</c:v>
                </c:pt>
                <c:pt idx="5">
                  <c:v>0.51295600674140052</c:v>
                </c:pt>
              </c:numCache>
            </c:numRef>
          </c:yVal>
          <c:bubbleSize>
            <c:numRef>
              <c:f>Sheet1!$C$2:$C$7</c:f>
              <c:numCache>
                <c:formatCode>General</c:formatCode>
                <c:ptCount val="6"/>
                <c:pt idx="0">
                  <c:v>14426543</c:v>
                </c:pt>
                <c:pt idx="1">
                  <c:v>4547304</c:v>
                </c:pt>
                <c:pt idx="2">
                  <c:v>2266305</c:v>
                </c:pt>
                <c:pt idx="3">
                  <c:v>2191662</c:v>
                </c:pt>
                <c:pt idx="4">
                  <c:v>1324687</c:v>
                </c:pt>
                <c:pt idx="5">
                  <c:v>53745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4478D3-D2AB-42C8-BD79-A781619BE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3A5156-6087-4026-9594-EBBA7B410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A16D9-18B3-4A65-876C-AC8FAB588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1BAC5C-E385-4BEE-A4D3-AC33ACA62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E07D5AB-0C2A-4E01-ABC9-E8DD34B0C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09BAF1-3D88-426A-A195-13DFE40C6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F6E04D-5568-41F0-995C-0FC43A549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C6E7EF-7344-44B2-8EAA-F37E0ABAB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288355555555547</c:v>
                </c:pt>
                <c:pt idx="1">
                  <c:v>6.6497007493838964</c:v>
                </c:pt>
                <c:pt idx="2">
                  <c:v>4.779088978050507</c:v>
                </c:pt>
              </c:numCache>
            </c:numRef>
          </c:xVal>
          <c:yVal>
            <c:numRef>
              <c:f>Sheet1!$B$2:$B$4</c:f>
              <c:numCache>
                <c:formatCode>General</c:formatCode>
                <c:ptCount val="3"/>
                <c:pt idx="0">
                  <c:v>0.86500664417297179</c:v>
                </c:pt>
                <c:pt idx="1">
                  <c:v>1.3283846403212329</c:v>
                </c:pt>
                <c:pt idx="2">
                  <c:v>1.2711453559075321</c:v>
                </c:pt>
              </c:numCache>
            </c:numRef>
          </c:yVal>
          <c:bubbleSize>
            <c:numRef>
              <c:f>Sheet1!$C$2:$C$4</c:f>
              <c:numCache>
                <c:formatCode>General</c:formatCode>
                <c:ptCount val="3"/>
                <c:pt idx="0">
                  <c:v>237061</c:v>
                </c:pt>
                <c:pt idx="1">
                  <c:v>132216</c:v>
                </c:pt>
                <c:pt idx="2">
                  <c:v>20249</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D3295D-9610-48AE-BBA8-CBBBA1F20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A93DF6-1E09-4620-9117-471366DF0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DF26B0-AA81-4C74-B5FE-1E09B67EE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D637F7-6415-4001-9B10-3AB022CF2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329B6A-3A8C-4529-853C-1FA376FA4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66C4F7-98CC-4286-AD17-E4F38E329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18F714-6AEA-4AB8-A8F1-CCF6D87E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3B0E46-2946-490D-8EBF-59F25B627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09289576561868</c:v>
                </c:pt>
                <c:pt idx="1">
                  <c:v>11.72449527903585</c:v>
                </c:pt>
                <c:pt idx="2">
                  <c:v>10.06443328574476</c:v>
                </c:pt>
                <c:pt idx="3">
                  <c:v>9.9210495405549484</c:v>
                </c:pt>
                <c:pt idx="4">
                  <c:v>10.55997130191918</c:v>
                </c:pt>
                <c:pt idx="5">
                  <c:v>5.851005917159763</c:v>
                </c:pt>
                <c:pt idx="6">
                  <c:v>10.57149626821467</c:v>
                </c:pt>
              </c:numCache>
            </c:numRef>
          </c:xVal>
          <c:yVal>
            <c:numRef>
              <c:f>Sheet1!$B$2:$B$8</c:f>
              <c:numCache>
                <c:formatCode>General</c:formatCode>
                <c:ptCount val="7"/>
                <c:pt idx="0">
                  <c:v>1.1668586496822699</c:v>
                </c:pt>
                <c:pt idx="1">
                  <c:v>1.288654851219063</c:v>
                </c:pt>
                <c:pt idx="2">
                  <c:v>0.74400720164436918</c:v>
                </c:pt>
                <c:pt idx="3">
                  <c:v>0.99062037030140671</c:v>
                </c:pt>
                <c:pt idx="4">
                  <c:v>0.78380160984523395</c:v>
                </c:pt>
                <c:pt idx="5">
                  <c:v>0.58425590288698148</c:v>
                </c:pt>
                <c:pt idx="6">
                  <c:v>0.93050408236775872</c:v>
                </c:pt>
              </c:numCache>
            </c:numRef>
          </c:yVal>
          <c:bubbleSize>
            <c:numRef>
              <c:f>Sheet1!$C$2:$C$8</c:f>
              <c:numCache>
                <c:formatCode>General</c:formatCode>
                <c:ptCount val="7"/>
                <c:pt idx="0">
                  <c:v>4036790</c:v>
                </c:pt>
                <c:pt idx="1">
                  <c:v>1374615</c:v>
                </c:pt>
                <c:pt idx="2">
                  <c:v>1226633</c:v>
                </c:pt>
                <c:pt idx="3">
                  <c:v>1098032</c:v>
                </c:pt>
                <c:pt idx="4">
                  <c:v>824248</c:v>
                </c:pt>
                <c:pt idx="5">
                  <c:v>296646</c:v>
                </c:pt>
                <c:pt idx="6">
                  <c:v>17846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6126EC-37A7-4D61-A858-98EDF5386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47F3EE-4ADA-4B04-9134-E371F603E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3904C0-A5F9-43B5-B551-42199336F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B0BCBE-E911-40B6-BF10-9BE4F36F1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996160-A39C-4E26-9AF2-73885FA70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02992B-9B14-4E15-BC10-D05BBC9D7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E6D0E5-0B03-4827-8170-ED80B058B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88C373-1FD3-4552-9626-10DE31F21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9565804319347073</c:v>
                </c:pt>
                <c:pt idx="1">
                  <c:v>6.3530788357206847</c:v>
                </c:pt>
                <c:pt idx="2">
                  <c:v>4.4708720801037964</c:v>
                </c:pt>
                <c:pt idx="3">
                  <c:v>10.232386715091289</c:v>
                </c:pt>
                <c:pt idx="4">
                  <c:v>10.79258616907077</c:v>
                </c:pt>
                <c:pt idx="5">
                  <c:v>12.5348243353081</c:v>
                </c:pt>
                <c:pt idx="6">
                  <c:v>10.52420269139323</c:v>
                </c:pt>
                <c:pt idx="7">
                  <c:v>3.8434883735872569</c:v>
                </c:pt>
                <c:pt idx="8">
                  <c:v>10.91927223219259</c:v>
                </c:pt>
              </c:numCache>
            </c:numRef>
          </c:xVal>
          <c:yVal>
            <c:numRef>
              <c:f>Sheet1!$B$2:$B$10</c:f>
              <c:numCache>
                <c:formatCode>General</c:formatCode>
                <c:ptCount val="9"/>
                <c:pt idx="0">
                  <c:v>1.6431827117211051</c:v>
                </c:pt>
                <c:pt idx="1">
                  <c:v>0.9961055697068425</c:v>
                </c:pt>
                <c:pt idx="2">
                  <c:v>0.63251184606012467</c:v>
                </c:pt>
                <c:pt idx="3">
                  <c:v>1.912651781530333</c:v>
                </c:pt>
                <c:pt idx="4">
                  <c:v>1.7772415448262679</c:v>
                </c:pt>
                <c:pt idx="5">
                  <c:v>2.380801948048509</c:v>
                </c:pt>
                <c:pt idx="6">
                  <c:v>1.5748891520495309</c:v>
                </c:pt>
                <c:pt idx="7">
                  <c:v>0.1678960898018817</c:v>
                </c:pt>
                <c:pt idx="8">
                  <c:v>1.8227196103182399</c:v>
                </c:pt>
              </c:numCache>
            </c:numRef>
          </c:yVal>
          <c:bubbleSize>
            <c:numRef>
              <c:f>Sheet1!$C$2:$C$10</c:f>
              <c:numCache>
                <c:formatCode>General</c:formatCode>
                <c:ptCount val="9"/>
                <c:pt idx="0">
                  <c:v>112293550</c:v>
                </c:pt>
                <c:pt idx="1">
                  <c:v>35755979</c:v>
                </c:pt>
                <c:pt idx="2">
                  <c:v>34927633</c:v>
                </c:pt>
                <c:pt idx="3">
                  <c:v>24449449</c:v>
                </c:pt>
                <c:pt idx="4">
                  <c:v>23908147</c:v>
                </c:pt>
                <c:pt idx="5">
                  <c:v>23070996</c:v>
                </c:pt>
                <c:pt idx="6">
                  <c:v>17869370</c:v>
                </c:pt>
                <c:pt idx="7">
                  <c:v>12561969</c:v>
                </c:pt>
                <c:pt idx="8">
                  <c:v>441111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9D2530-1C66-4796-AD84-FF97FE8A6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2F591D-6688-4EE3-9696-6D782364E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3272A6-2A69-4928-816E-B2A1D7EE0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1B92D0-194A-4741-A8FC-7EAA3642F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013F60-00D0-4C6E-8D96-4B4286AFA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996BB2-97C2-4030-A96F-5B74B3C2A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7029FA-A984-40C0-AF41-94F7D971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C55289-8410-46F9-A6D4-AAAE17DF1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89467474984069</c:v>
                </c:pt>
                <c:pt idx="1">
                  <c:v>15.4209520588484</c:v>
                </c:pt>
                <c:pt idx="2">
                  <c:v>11.535941203581769</c:v>
                </c:pt>
                <c:pt idx="3">
                  <c:v>10.63633794286868</c:v>
                </c:pt>
                <c:pt idx="4">
                  <c:v>15.41901842716193</c:v>
                </c:pt>
                <c:pt idx="5">
                  <c:v>7.9229139892427058</c:v>
                </c:pt>
                <c:pt idx="6">
                  <c:v>11.44298436142485</c:v>
                </c:pt>
              </c:numCache>
            </c:numRef>
          </c:xVal>
          <c:yVal>
            <c:numRef>
              <c:f>Sheet1!$B$2:$B$8</c:f>
              <c:numCache>
                <c:formatCode>General</c:formatCode>
                <c:ptCount val="7"/>
                <c:pt idx="0">
                  <c:v>1.2958907235712529</c:v>
                </c:pt>
                <c:pt idx="1">
                  <c:v>1.4035711351265809</c:v>
                </c:pt>
                <c:pt idx="2">
                  <c:v>0.75509243494562206</c:v>
                </c:pt>
                <c:pt idx="3">
                  <c:v>0.7058899753968646</c:v>
                </c:pt>
                <c:pt idx="4">
                  <c:v>1.116596710539097</c:v>
                </c:pt>
                <c:pt idx="5">
                  <c:v>0.52269104617942552</c:v>
                </c:pt>
                <c:pt idx="6">
                  <c:v>0.75151654203758766</c:v>
                </c:pt>
              </c:numCache>
            </c:numRef>
          </c:yVal>
          <c:bubbleSize>
            <c:numRef>
              <c:f>Sheet1!$C$2:$C$8</c:f>
              <c:numCache>
                <c:formatCode>General</c:formatCode>
                <c:ptCount val="7"/>
                <c:pt idx="0">
                  <c:v>4201315</c:v>
                </c:pt>
                <c:pt idx="1">
                  <c:v>1823836</c:v>
                </c:pt>
                <c:pt idx="2">
                  <c:v>1401663</c:v>
                </c:pt>
                <c:pt idx="3">
                  <c:v>1053742</c:v>
                </c:pt>
                <c:pt idx="4">
                  <c:v>850143</c:v>
                </c:pt>
                <c:pt idx="5">
                  <c:v>665810</c:v>
                </c:pt>
                <c:pt idx="6">
                  <c:v>2107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9556BB-B477-434F-A429-42F128B06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200159-D944-4BF5-AAEA-905A3DD41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EDA1D0-D65C-4580-8E29-B29CE36F4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350DE0-5501-4AA4-8829-B3C0C7022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51DA9B-BE63-4D0F-AC87-202441627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F59519-DD81-4537-B88F-08442DC96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8F716B-1960-4909-8755-12D0EF75A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AE0020-EAE5-460C-B4ED-0573F8097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963740800574403</c:v>
                </c:pt>
                <c:pt idx="1">
                  <c:v>4.1877534468775348</c:v>
                </c:pt>
                <c:pt idx="2">
                  <c:v>8.5642407906558855</c:v>
                </c:pt>
              </c:numCache>
            </c:numRef>
          </c:xVal>
          <c:yVal>
            <c:numRef>
              <c:f>Sheet1!$B$2:$B$4</c:f>
              <c:numCache>
                <c:formatCode>General</c:formatCode>
                <c:ptCount val="3"/>
                <c:pt idx="0">
                  <c:v>1.1528992986969651</c:v>
                </c:pt>
                <c:pt idx="1">
                  <c:v>1.038103389699109</c:v>
                </c:pt>
                <c:pt idx="2">
                  <c:v>0.65737249188759417</c:v>
                </c:pt>
              </c:numCache>
            </c:numRef>
          </c:yVal>
          <c:bubbleSize>
            <c:numRef>
              <c:f>Sheet1!$C$2:$C$4</c:f>
              <c:numCache>
                <c:formatCode>General</c:formatCode>
                <c:ptCount val="3"/>
                <c:pt idx="0">
                  <c:v>34520</c:v>
                </c:pt>
                <c:pt idx="1">
                  <c:v>10327</c:v>
                </c:pt>
                <c:pt idx="2">
                  <c:v>9532</c:v>
                </c:pt>
              </c:numCache>
            </c:numRef>
          </c:bubbleSize>
          <c:bubble3D val="0"/>
          <c:extLst>
            <c:ext xmlns:c15="http://schemas.microsoft.com/office/drawing/2012/chart" uri="{02D57815-91ED-43cb-92C2-25804820EDAC}">
              <c15:datalabelsRange>
                <c15:f>Sheet1!$E$2:$E$10</c15:f>
                <c15:dlblRangeCache>
                  <c:ptCount val="9"/>
                  <c:pt idx="0">
                    <c:v>Bic Easyrinse</c:v>
                  </c:pt>
                  <c:pt idx="1">
                    <c:v>Intuition</c:v>
                  </c:pt>
                  <c:pt idx="2">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7188FC-9301-4DF5-99A9-F505C77B5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2A2B72-A254-4F8F-818E-411BD5574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E0889E-868D-4AA3-AD71-0009C3875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1F82A9-4505-458E-95FB-3A35BA0AC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DFD0C9-DF29-4F38-937C-ABE76A2BE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AFDE8F-D409-4597-BF38-422D15DFB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522CBE-26E6-4178-BFFA-8C2D199A1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9BB3AD-BFC3-4065-B406-27ECDE4C9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1.422339917516821</c:v>
                </c:pt>
                <c:pt idx="1">
                  <c:v>11.56562249673258</c:v>
                </c:pt>
                <c:pt idx="2">
                  <c:v>9.9684294909579609</c:v>
                </c:pt>
                <c:pt idx="3">
                  <c:v>9.8359020625015656</c:v>
                </c:pt>
                <c:pt idx="4">
                  <c:v>10.009065991988191</c:v>
                </c:pt>
                <c:pt idx="5">
                  <c:v>5.7393327280980477</c:v>
                </c:pt>
              </c:numCache>
            </c:numRef>
          </c:xVal>
          <c:yVal>
            <c:numRef>
              <c:f>Sheet1!$B$2:$B$7</c:f>
              <c:numCache>
                <c:formatCode>General</c:formatCode>
                <c:ptCount val="6"/>
                <c:pt idx="0">
                  <c:v>1.156780504623709</c:v>
                </c:pt>
                <c:pt idx="1">
                  <c:v>1.3690643901307979</c:v>
                </c:pt>
                <c:pt idx="2">
                  <c:v>1.026665417629026</c:v>
                </c:pt>
                <c:pt idx="3">
                  <c:v>0.69472367293953918</c:v>
                </c:pt>
                <c:pt idx="4">
                  <c:v>0.82690301901894914</c:v>
                </c:pt>
                <c:pt idx="5">
                  <c:v>0.59117732538184864</c:v>
                </c:pt>
              </c:numCache>
            </c:numRef>
          </c:yVal>
          <c:bubbleSize>
            <c:numRef>
              <c:f>Sheet1!$C$2:$C$7</c:f>
              <c:numCache>
                <c:formatCode>General</c:formatCode>
                <c:ptCount val="6"/>
                <c:pt idx="0">
                  <c:v>1315568</c:v>
                </c:pt>
                <c:pt idx="1">
                  <c:v>548650</c:v>
                </c:pt>
                <c:pt idx="2">
                  <c:v>422791</c:v>
                </c:pt>
                <c:pt idx="3">
                  <c:v>392482</c:v>
                </c:pt>
                <c:pt idx="4">
                  <c:v>284838</c:v>
                </c:pt>
                <c:pt idx="5">
                  <c:v>15172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8B381B-2678-4D5B-A9F2-9390019FF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7332AA-9BB5-4ABA-B1EE-445B604EB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ABD8DF-709B-4A7C-916A-F064CE4B0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8C260B-1F80-479F-B048-9809FD8A5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1AA006-72E8-43CF-A362-78E9E1262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74F85-C821-4223-A1BF-37F99AEBF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603144C-0884-4649-9802-0B84752AA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CCC443-AF64-4064-B462-96E513997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10293930201141</c:v>
                </c:pt>
                <c:pt idx="1">
                  <c:v>10.680440725979119</c:v>
                </c:pt>
                <c:pt idx="2">
                  <c:v>15.283024544337749</c:v>
                </c:pt>
                <c:pt idx="3">
                  <c:v>10.185723890632</c:v>
                </c:pt>
                <c:pt idx="4">
                  <c:v>14.74320439100889</c:v>
                </c:pt>
                <c:pt idx="5">
                  <c:v>7.7715504599386751</c:v>
                </c:pt>
              </c:numCache>
            </c:numRef>
          </c:xVal>
          <c:yVal>
            <c:numRef>
              <c:f>Sheet1!$B$2:$B$7</c:f>
              <c:numCache>
                <c:formatCode>General</c:formatCode>
                <c:ptCount val="6"/>
                <c:pt idx="0">
                  <c:v>1.32087157247586</c:v>
                </c:pt>
                <c:pt idx="1">
                  <c:v>0.80186590808304792</c:v>
                </c:pt>
                <c:pt idx="2">
                  <c:v>1.465697373876836</c:v>
                </c:pt>
                <c:pt idx="3">
                  <c:v>0.73171505182469565</c:v>
                </c:pt>
                <c:pt idx="4">
                  <c:v>1.18226845057061</c:v>
                </c:pt>
                <c:pt idx="5">
                  <c:v>0.53382596481456723</c:v>
                </c:pt>
              </c:numCache>
            </c:numRef>
          </c:yVal>
          <c:bubbleSize>
            <c:numRef>
              <c:f>Sheet1!$C$2:$C$7</c:f>
              <c:numCache>
                <c:formatCode>General</c:formatCode>
                <c:ptCount val="6"/>
                <c:pt idx="0">
                  <c:v>1381598</c:v>
                </c:pt>
                <c:pt idx="1">
                  <c:v>648495</c:v>
                </c:pt>
                <c:pt idx="2">
                  <c:v>609594</c:v>
                </c:pt>
                <c:pt idx="3">
                  <c:v>454487</c:v>
                </c:pt>
                <c:pt idx="4">
                  <c:v>338445</c:v>
                </c:pt>
                <c:pt idx="5">
                  <c:v>29147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F8D8F8-B5E4-473F-869A-3E3226846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941C43-5109-4375-AE0E-B48558EE9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926AA4-8EA9-4F13-9DE9-222D1E515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1F15C8-4674-4606-BF4C-297139A9A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BB870C-C6C2-4AD6-9C43-FCF546A67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013B108-8FE6-450C-9080-1AB6124A1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A46BCC-CEC4-40F3-8A95-A48EACAB6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AEFF72-1A81-4D65-9968-9E68C834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499252075615662</c:v>
                </c:pt>
                <c:pt idx="1">
                  <c:v>6.5314467663974982</c:v>
                </c:pt>
                <c:pt idx="2">
                  <c:v>4.9593966059082337</c:v>
                </c:pt>
              </c:numCache>
            </c:numRef>
          </c:xVal>
          <c:yVal>
            <c:numRef>
              <c:f>Sheet1!$B$2:$B$4</c:f>
              <c:numCache>
                <c:formatCode>General</c:formatCode>
                <c:ptCount val="3"/>
                <c:pt idx="0">
                  <c:v>0.87762479273496785</c:v>
                </c:pt>
                <c:pt idx="1">
                  <c:v>1.303296803505934</c:v>
                </c:pt>
                <c:pt idx="2">
                  <c:v>1.3192498404082029</c:v>
                </c:pt>
              </c:numCache>
            </c:numRef>
          </c:yVal>
          <c:bubbleSize>
            <c:numRef>
              <c:f>Sheet1!$C$2:$C$4</c:f>
              <c:numCache>
                <c:formatCode>General</c:formatCode>
                <c:ptCount val="3"/>
                <c:pt idx="0">
                  <c:v>1703299</c:v>
                </c:pt>
                <c:pt idx="1">
                  <c:v>910758</c:v>
                </c:pt>
                <c:pt idx="2">
                  <c:v>118356</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E49F18-2189-41CD-A331-42AB553A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0949B4-694C-4164-B153-9FE71ED00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46DF63-DCE4-4B13-8E3D-27660A25E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A6E337-7962-478E-9B6D-DFA2233F8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E03BAE-5BA9-407B-B756-06CD5A968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EF5FA7-EC91-4B33-BD3C-0FF3791B4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6AC185-12CD-47F1-B0DD-2E379862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E6498B-8953-4781-A520-1975CF35D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60265808310089</c:v>
                </c:pt>
                <c:pt idx="1">
                  <c:v>9.9166174496644288</c:v>
                </c:pt>
                <c:pt idx="2">
                  <c:v>11.445047058608999</c:v>
                </c:pt>
                <c:pt idx="3">
                  <c:v>9.9601658091799514</c:v>
                </c:pt>
                <c:pt idx="4">
                  <c:v>10.36094179750989</c:v>
                </c:pt>
                <c:pt idx="5">
                  <c:v>10.5439227843026</c:v>
                </c:pt>
                <c:pt idx="6">
                  <c:v>5.7358688046301456</c:v>
                </c:pt>
              </c:numCache>
            </c:numRef>
          </c:xVal>
          <c:yVal>
            <c:numRef>
              <c:f>Sheet1!$B$2:$B$8</c:f>
              <c:numCache>
                <c:formatCode>General</c:formatCode>
                <c:ptCount val="7"/>
                <c:pt idx="0">
                  <c:v>1.1464092343147061</c:v>
                </c:pt>
                <c:pt idx="1">
                  <c:v>0.99914306694703969</c:v>
                </c:pt>
                <c:pt idx="2">
                  <c:v>1.2401233446866859</c:v>
                </c:pt>
                <c:pt idx="3">
                  <c:v>0.77512326281093091</c:v>
                </c:pt>
                <c:pt idx="4">
                  <c:v>0.80891939890452047</c:v>
                </c:pt>
                <c:pt idx="5">
                  <c:v>0.93279131280810001</c:v>
                </c:pt>
                <c:pt idx="6">
                  <c:v>0.57792028333708445</c:v>
                </c:pt>
              </c:numCache>
            </c:numRef>
          </c:yVal>
          <c:bubbleSize>
            <c:numRef>
              <c:f>Sheet1!$C$2:$C$8</c:f>
              <c:numCache>
                <c:formatCode>General</c:formatCode>
                <c:ptCount val="7"/>
                <c:pt idx="0">
                  <c:v>31103571</c:v>
                </c:pt>
                <c:pt idx="1">
                  <c:v>9788941</c:v>
                </c:pt>
                <c:pt idx="2">
                  <c:v>8787118</c:v>
                </c:pt>
                <c:pt idx="3">
                  <c:v>8568392</c:v>
                </c:pt>
                <c:pt idx="4">
                  <c:v>6814609</c:v>
                </c:pt>
                <c:pt idx="5">
                  <c:v>2156422</c:v>
                </c:pt>
                <c:pt idx="6">
                  <c:v>193452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D446D3-CB34-4917-8BC5-866F46849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5A77A8-ACB2-4345-8EA7-17A48A5F9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049F40-62FC-4D74-8C6A-F7A8215FB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CE40E5-2C34-4042-8607-E8110447F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BCE13A-3643-4198-AB08-BA0E3956D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9D79BD-79FA-4A03-BFEA-008D035EE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FE154D-BA5E-4F3B-9C33-D8B31CC0A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41E953-82EA-49BC-9357-9BD7E6574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990356310508108</c:v>
                </c:pt>
                <c:pt idx="1">
                  <c:v>11.496666837660699</c:v>
                </c:pt>
                <c:pt idx="2">
                  <c:v>15.963700203672049</c:v>
                </c:pt>
                <c:pt idx="3">
                  <c:v>10.62803268191284</c:v>
                </c:pt>
                <c:pt idx="4">
                  <c:v>15.505851166838109</c:v>
                </c:pt>
                <c:pt idx="5">
                  <c:v>7.8325913437891916</c:v>
                </c:pt>
                <c:pt idx="6">
                  <c:v>11.30415730787743</c:v>
                </c:pt>
              </c:numCache>
            </c:numRef>
          </c:xVal>
          <c:yVal>
            <c:numRef>
              <c:f>Sheet1!$B$2:$B$8</c:f>
              <c:numCache>
                <c:formatCode>General</c:formatCode>
                <c:ptCount val="7"/>
                <c:pt idx="0">
                  <c:v>1.354166085501038</c:v>
                </c:pt>
                <c:pt idx="1">
                  <c:v>0.78367768948455852</c:v>
                </c:pt>
                <c:pt idx="2">
                  <c:v>1.43158450931133</c:v>
                </c:pt>
                <c:pt idx="3">
                  <c:v>0.73221864350875809</c:v>
                </c:pt>
                <c:pt idx="4">
                  <c:v>1.137578976795389</c:v>
                </c:pt>
                <c:pt idx="5">
                  <c:v>0.5361979093523721</c:v>
                </c:pt>
                <c:pt idx="6">
                  <c:v>0.77518098106577171</c:v>
                </c:pt>
              </c:numCache>
            </c:numRef>
          </c:yVal>
          <c:bubbleSize>
            <c:numRef>
              <c:f>Sheet1!$C$2:$C$8</c:f>
              <c:numCache>
                <c:formatCode>General</c:formatCode>
                <c:ptCount val="7"/>
                <c:pt idx="0">
                  <c:v>31571816</c:v>
                </c:pt>
                <c:pt idx="1">
                  <c:v>14119206</c:v>
                </c:pt>
                <c:pt idx="2">
                  <c:v>12862065</c:v>
                </c:pt>
                <c:pt idx="3">
                  <c:v>11054068</c:v>
                </c:pt>
                <c:pt idx="4">
                  <c:v>6165328</c:v>
                </c:pt>
                <c:pt idx="5">
                  <c:v>4952618</c:v>
                </c:pt>
                <c:pt idx="6">
                  <c:v>225468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CEA02F-AB15-427A-9D04-BFB697790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32BB7F3-E491-4C27-83CD-ADA86A553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B20036-47E3-498C-B8BA-54BE00400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1D31392-B8F9-41EF-9A83-20A88AFF1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B4FCE0E-40E8-4E44-8840-DBFEDAAA0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FA150F-FF6C-4AD1-96CF-9241AFBDF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0126F4-36B2-4E82-BC76-2E72D8498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A5961D-F928-4C9B-8F6C-CB31CBD6F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c:v>
                </c:pt>
              </c:numCache>
            </c:numRef>
          </c:xVal>
          <c:yVal>
            <c:numRef>
              <c:f>Sheet1!$B$2:$B$2</c:f>
              <c:numCache>
                <c:formatCode>General</c:formatCode>
                <c:ptCount val="1"/>
                <c:pt idx="0">
                  <c:v>1</c:v>
                </c:pt>
              </c:numCache>
            </c:numRef>
          </c:yVal>
          <c:bubbleSize>
            <c:numRef>
              <c:f>Sheet1!$C$2:$C$2</c:f>
              <c:numCache>
                <c:formatCode>General</c:formatCode>
                <c:ptCount val="1"/>
                <c:pt idx="0">
                  <c:v>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0"/>
          <c:min val="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79CBE-A132-4194-AF87-78858F05D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1DD046-4F96-46DF-8BF5-E0B31D2FC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794280-C2D3-4EF1-9D7C-5D1BE7441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B341E4-26AF-4B85-835D-DCEBE00C0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1A769D-6230-463B-8ED9-6C1E7D082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A7CC72-1C34-4BBA-92B8-7A983BDBC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22A42E-B173-4E74-8543-D8970D29E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F9AE55-6F7F-4A42-BB04-2F5DFB0A1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498123381085801</c:v>
                </c:pt>
                <c:pt idx="1">
                  <c:v>14.06004464285714</c:v>
                </c:pt>
                <c:pt idx="2">
                  <c:v>12.592001657687531</c:v>
                </c:pt>
                <c:pt idx="3">
                  <c:v>13.756625950679879</c:v>
                </c:pt>
                <c:pt idx="4">
                  <c:v>11.62807312460601</c:v>
                </c:pt>
                <c:pt idx="5">
                  <c:v>12.821406347230861</c:v>
                </c:pt>
              </c:numCache>
            </c:numRef>
          </c:xVal>
          <c:yVal>
            <c:numRef>
              <c:f>Sheet1!$B$2:$B$7</c:f>
              <c:numCache>
                <c:formatCode>General</c:formatCode>
                <c:ptCount val="6"/>
                <c:pt idx="0">
                  <c:v>1.222868191873977</c:v>
                </c:pt>
                <c:pt idx="1">
                  <c:v>0.9580858816804676</c:v>
                </c:pt>
                <c:pt idx="2">
                  <c:v>0.86207068653617691</c:v>
                </c:pt>
                <c:pt idx="3">
                  <c:v>0.97209378182917405</c:v>
                </c:pt>
                <c:pt idx="4">
                  <c:v>0.91435485771933289</c:v>
                </c:pt>
                <c:pt idx="5">
                  <c:v>0.43529805042334418</c:v>
                </c:pt>
              </c:numCache>
            </c:numRef>
          </c:yVal>
          <c:bubbleSize>
            <c:numRef>
              <c:f>Sheet1!$C$2:$C$7</c:f>
              <c:numCache>
                <c:formatCode>General</c:formatCode>
                <c:ptCount val="6"/>
                <c:pt idx="0">
                  <c:v>274261</c:v>
                </c:pt>
                <c:pt idx="1">
                  <c:v>62989</c:v>
                </c:pt>
                <c:pt idx="2">
                  <c:v>60769</c:v>
                </c:pt>
                <c:pt idx="3">
                  <c:v>59690</c:v>
                </c:pt>
                <c:pt idx="4">
                  <c:v>55338</c:v>
                </c:pt>
                <c:pt idx="5">
                  <c:v>206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Hydro Silk</c:v>
                  </c:pt>
                  <c:pt idx="4">
                    <c:v>Billie</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945674-13AF-41D0-B17E-802E0FEE4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5750C0-2A96-444C-94E3-717961708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1E9871-FEF0-4105-8212-4E7D36B88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4FAB13-D552-4BC3-A4F7-95EF3F8C5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8AA5D7-E214-4782-B71E-D711ECA0D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8066F5-331F-4B71-8538-A5D361FF9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182BB5-BC28-4EB4-B3F3-2934847C8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BA10B5-E7E7-465E-B79E-840E687CD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8831416220969</c:v>
                </c:pt>
                <c:pt idx="1">
                  <c:v>24.007287259050301</c:v>
                </c:pt>
                <c:pt idx="2">
                  <c:v>12.471515151515151</c:v>
                </c:pt>
                <c:pt idx="3">
                  <c:v>13.186840644086621</c:v>
                </c:pt>
                <c:pt idx="4">
                  <c:v>20.036821705426359</c:v>
                </c:pt>
                <c:pt idx="5">
                  <c:v>16.004000000000001</c:v>
                </c:pt>
              </c:numCache>
            </c:numRef>
          </c:xVal>
          <c:yVal>
            <c:numRef>
              <c:f>Sheet1!$B$2:$B$7</c:f>
              <c:numCache>
                <c:formatCode>General</c:formatCode>
                <c:ptCount val="6"/>
                <c:pt idx="0">
                  <c:v>1.189927200138015</c:v>
                </c:pt>
                <c:pt idx="1">
                  <c:v>1.25848238282279</c:v>
                </c:pt>
                <c:pt idx="2">
                  <c:v>0.61439582100016399</c:v>
                </c:pt>
                <c:pt idx="3">
                  <c:v>0.66526966573333979</c:v>
                </c:pt>
                <c:pt idx="4">
                  <c:v>1.180734702821653</c:v>
                </c:pt>
                <c:pt idx="5">
                  <c:v>0.53090018341159539</c:v>
                </c:pt>
              </c:numCache>
            </c:numRef>
          </c:yVal>
          <c:bubbleSize>
            <c:numRef>
              <c:f>Sheet1!$C$2:$C$7</c:f>
              <c:numCache>
                <c:formatCode>General</c:formatCode>
                <c:ptCount val="6"/>
                <c:pt idx="0">
                  <c:v>306943</c:v>
                </c:pt>
                <c:pt idx="1">
                  <c:v>102127</c:v>
                </c:pt>
                <c:pt idx="2">
                  <c:v>61734</c:v>
                </c:pt>
                <c:pt idx="3">
                  <c:v>47499</c:v>
                </c:pt>
                <c:pt idx="4">
                  <c:v>31017</c:v>
                </c:pt>
                <c:pt idx="5">
                  <c:v>1200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12/15/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5/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5/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5/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5/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5/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5/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5/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5/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368.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369.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370.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371.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372.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373.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374.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375.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376.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37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378.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379.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380.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381.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382.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383.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384.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385.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386.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38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388.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389.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390.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391.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392.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393.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394.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395.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396.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397.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398.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399.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00.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01.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02.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03.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04.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05.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06.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0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08.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09.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10.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11.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12.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13.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14.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15.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16.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41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418.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419.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420.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421.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422.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423.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424.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425.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426.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427.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428.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429.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430.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431.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432.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433.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434.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435.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436.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437.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438.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439.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440.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441.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442.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443.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444.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445.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446.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44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448.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449.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450.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451.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452.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453.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454.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455.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456.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457.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458.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459.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460.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461.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462.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463.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464.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465.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466.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467.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468.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469.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470.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471.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472.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473.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474.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475.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476.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477.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478.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479.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480.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481.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482.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483.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484.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485.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486.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48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488.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489.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490.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491.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492.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493.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494.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495.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496.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497.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498.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499.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00.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01.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02.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03.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04.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05.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06.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0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508.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509.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510.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511.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512.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513.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514.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515.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516.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51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518.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519.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520.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521.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522.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523.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524.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525.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526.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527.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528.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529.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530.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531.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532.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533.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534.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535.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536.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537.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538.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539.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540.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541.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542.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543.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544.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545.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546.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54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548.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549.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550.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551.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552.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553.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554.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555.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556.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557.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558.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559.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560.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561.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562.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563.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564.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565.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566.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567.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568.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569.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570.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571.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572.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573.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574.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575.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576.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577.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578.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579.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580.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581.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582.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583.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584.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585.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586.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58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588.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589.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590.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591.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592.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93.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94.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95.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96.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97.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98.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99.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00.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01.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02.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03.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04.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05.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06.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07.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608.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609.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610.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611.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612.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613.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614.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615.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616.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61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618.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619.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620.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621.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622.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623.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624.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625.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626.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627.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628.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629.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630.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631.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632.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633.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634.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635.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636.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637.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638.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639.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640.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641.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642.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643.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644.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645.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646.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64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648.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649.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chart" Target="../charts/chart650.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chart" Target="../charts/chart651.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chart" Target="../charts/chart652.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653.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654.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655.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656.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657.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658.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659.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660.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661.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662.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663.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664.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665.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666.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667.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668.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669.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670.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671.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672.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673.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674.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675.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676.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677.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678.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679.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680.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681.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682.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683.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684.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685.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686.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68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688.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689.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690.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691.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692.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693.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694.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695.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696.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697.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698.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699.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700.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701.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702.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703.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704.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705.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706.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70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708.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709.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710.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711.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712.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713.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714.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715.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716.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71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718.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719.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720.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721.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722.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723.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724.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725.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726.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72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728.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729.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730.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731.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732.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733.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734.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735.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736.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7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738.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739.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740.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741.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742.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89394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9432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2781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036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5977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42377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92325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47753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54742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20140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77919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53608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05896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73617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567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11427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4449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7717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55558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402441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7322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4050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4664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3564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097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73703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2573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5513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9857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591033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2095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29162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49162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30264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58764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946651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41051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751459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83152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22044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19841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332724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45229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90609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5221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549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8725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26205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26191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2308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4385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49441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8441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121983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75445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45153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421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69718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2060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466805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69779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61562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33039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40659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28556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51114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246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3921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66131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59954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0878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086074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37664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47468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5749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38993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91121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793389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35938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8565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0679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705342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3903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36388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80870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004944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96359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54899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13356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6003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8730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13795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52509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123092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1336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65447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056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725727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6967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62786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239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657919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3714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83483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8675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80500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1526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3463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7035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558874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42312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1823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54242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06330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2168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438750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4759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37621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8579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730950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94844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644524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7657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795791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1652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6123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0177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19204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49136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96785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43344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98257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4967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4491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78262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29106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7447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40250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03815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271938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2955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152914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1040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521460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11940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9802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6402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476811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3413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84981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02683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08940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422585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824884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5467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75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9459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97186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09274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14560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42368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34309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1953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052949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0075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236115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85339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26107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2927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39203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0682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366700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70426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896552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43406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88246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5934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9976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3380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976721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7484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615815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08918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506713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4840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339807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85049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7879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31633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55266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43678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562654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06933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059688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09664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67296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8171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840057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1634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3224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6060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355490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5127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53063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4355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213564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0320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901859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53399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96359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6248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600489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4151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239339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4552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577304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0943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402428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79042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614015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51314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2873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4302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5960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45076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548457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3845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896601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75792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70601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79580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221260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5000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245941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19860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415488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3108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601392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8183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973075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6865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176863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37384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619201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1220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9502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52183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723339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5588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42033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17662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93126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45180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094948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18643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82686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66591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47494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54099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1514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47773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964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3147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274647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16227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28200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89951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52183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7746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882453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0622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189660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8208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929290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0637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409347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84689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825461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44418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33082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7399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15446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8502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353712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30781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403653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59605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393455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3668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69958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13602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186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0651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20283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1525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041338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12481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603452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33940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804126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98290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59448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25606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02894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59861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616193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30743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719574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66356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977503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42952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750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41217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190519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88952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23015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31587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903200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05273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246649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15145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903499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262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46507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2454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38085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29928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877100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04592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96246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24191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365017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5164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504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3917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572798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7640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903742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43949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326155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5001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06748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18899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323822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4077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078609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34418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483535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617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04146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48236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802548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0895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85919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39722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065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6430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437567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91427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342386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6638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0250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6169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38200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87358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6773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39143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092404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7827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963148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3335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727962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2326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84983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81346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234688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38643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09700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5259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755363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8692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49814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5779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020550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0234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771010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40697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213974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56897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637490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42983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906461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55429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873465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4323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2091638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8341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5087098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0157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7782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08485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448119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791725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7253235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34462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205929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8769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1587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57736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106734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9343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4267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68337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603881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00762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95178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2603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450578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6466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95766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2641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7143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7562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975786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6588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562427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1875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345616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31739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013662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8601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46340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80534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802305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77376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73500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28937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252149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7321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708868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9326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233545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3256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9461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30672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0289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49700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73416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5920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5812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1362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799943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4402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309335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84761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551698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1417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117827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0053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078610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2408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332213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3716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165446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322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884231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63506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761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6502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87297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84194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768405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47813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48151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14112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880362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2372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09207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22760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840971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63496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245690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97452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034547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4780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53928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36695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542201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0851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1574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44138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240793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44207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78813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0875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046190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6305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753284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8885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45958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8259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663154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04743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6377728"/>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01605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99693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5046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444634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0342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551048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209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5040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00512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26767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7497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175885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0386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597335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3905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331975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79667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853376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37210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793272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4635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322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91887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6055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12822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046892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4718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839900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7447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2300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73821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776370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24783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177863"/>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47664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842233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7358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948532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85450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76009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98296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111770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364202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819531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08081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245238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17571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2782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783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97021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5032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3957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89980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99146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47320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379403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50241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184000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66187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287231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8994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952874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4564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538578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92616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805074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31286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9608434"/>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2910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150051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44720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508003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565287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9241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67968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18044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3766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597188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99826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24008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7965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344024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10654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2625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08718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94133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7598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848104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45598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751308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2916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070445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36094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8679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4818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66370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270458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6584620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10181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314560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694307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40744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13372079"/>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94467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1809735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665503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090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13773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344869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034282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49077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6298992"/>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509888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812450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119890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865527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9061500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5401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1123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294294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415344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55052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56107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79254819"/>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5751432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19743877"/>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284205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232917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1572292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0508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9511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24134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4187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978984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01959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121810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889977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31439588"/>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089767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118998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0266169"/>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39467468"/>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70709859"/>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581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4424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280894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9930968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070169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699462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767030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2387123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934116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943009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052430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501260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91343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0188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856485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366809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3811660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754270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00892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451863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6286077"/>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881101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72894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52418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78180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9709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428272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2879101"/>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9958420"/>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726256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1717168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4520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22488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4898553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9155820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9851185"/>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7532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98289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020758"/>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623304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414705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0292164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501060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900298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3973169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834635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220053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5351626"/>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24220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42263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794955"/>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3935074"/>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66041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869093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83290852"/>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280698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6384301"/>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8424611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50277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0266438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5/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6625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131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766508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441410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222600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47532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052003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1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0897618"/>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5077520"/>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Div1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9507712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704681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c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2550845"/>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8198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4574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123880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645647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98155758"/>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Nor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1824441"/>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46756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899017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537014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Ak/Hi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1490194"/>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977895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0136063"/>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78230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4004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265064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9727342"/>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5641338"/>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621677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684843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770039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34930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2432145"/>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131400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0196822"/>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43408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841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98445"/>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233358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72112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472709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658230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551961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305734"/>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8939080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4840288"/>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597697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71446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9931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2413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53402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30654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170422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8879521"/>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126761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4170104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139793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191367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662623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2459240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9540267"/>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38968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13586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3638226"/>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464448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235750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5468227"/>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0988061"/>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198138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689157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364539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002928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133070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9820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07421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3771947"/>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551928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590210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31490798"/>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421405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5162092"/>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4386811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47926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61665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2881891"/>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84770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0556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1976588"/>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633039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887670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696165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9046099"/>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237667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3790374"/>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830262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0402024"/>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571598"/>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32618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602027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743603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740196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89149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80775023"/>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95379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2584024"/>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686464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335232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238165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420550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40240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98447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488009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0271412"/>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4688254"/>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1084382"/>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727157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676616"/>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558970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406180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248903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20724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12372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61486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32697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0584085"/>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85898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82076485"/>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36521439"/>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154656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38071648"/>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0851559"/>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974936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187772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0509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59991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67246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9549624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6222733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819795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337227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1338736"/>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4753210"/>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801203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15564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290751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48344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58271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61395"/>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743567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082943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2867132"/>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66424"/>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93087062"/>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995895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891578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49081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5816756"/>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58114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56738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5744569"/>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0885060"/>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456468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9266102"/>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2038919"/>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9929983"/>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854963"/>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5884036"/>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6009043"/>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14156760"/>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7895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01492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40912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4341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824649"/>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7934482"/>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5461291"/>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66990376"/>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1297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6096598"/>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787299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684248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0625783"/>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96267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62693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87537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6218806"/>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2995549"/>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330897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467756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9850053"/>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909510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223101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0311601"/>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730663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270876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69065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95091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9803273"/>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0603132"/>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387011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325154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1707526"/>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94972559"/>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5180434"/>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0096762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6138711"/>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9741321"/>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67859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95763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635909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7028712"/>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9681025"/>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9021953"/>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757928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933933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43256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048775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7223720"/>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6607966"/>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85278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2193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8014578"/>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8125927"/>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512800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14951858"/>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7628482"/>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8246499"/>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8193201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7650266"/>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522201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58691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14333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6988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7945440"/>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8490270"/>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621358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620034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0817754"/>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565409"/>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06233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3664314"/>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5191737"/>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215400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373265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28591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9683078"/>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9661910"/>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368895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33945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723136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2776981"/>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7499565"/>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026941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7068005"/>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573998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50242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55894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44760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3081153"/>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6952649"/>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6375187"/>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1136068"/>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304413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42814"/>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8078317"/>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865540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001110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659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485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8977815"/>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2624051"/>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3562630"/>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4323751"/>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07638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8283725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660511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7795108"/>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8302793"/>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3199900"/>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44119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16805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5009396"/>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295835"/>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692319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017582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4892951"/>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268770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2246556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82554123"/>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1619235"/>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463397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2937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0975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14899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4901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340208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292389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943038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1493847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892733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528194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0277530"/>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55302"/>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678731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333269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40918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8082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179918"/>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246991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7084233"/>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7749358"/>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7821222"/>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55785"/>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9758538"/>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2711958"/>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73228166"/>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2801135"/>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9945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38934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7008834"/>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2197327"/>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498572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01658743"/>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1251227"/>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51985368"/>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6079679"/>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679298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424009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405639"/>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48259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95382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875713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147067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3652978"/>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57499589"/>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746604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10764841"/>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997038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699477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450895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999077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4178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834811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0976408"/>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564123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8616522"/>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51362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2778732"/>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8235163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759025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1610171"/>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185829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055047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42313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28828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5178291"/>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128752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693441"/>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624296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381654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5445373"/>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22384210"/>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1859392"/>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5602459"/>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5700079"/>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60214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7834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83062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3655414"/>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6534420"/>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476897"/>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3909474"/>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126095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958591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8452240"/>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113967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8822116"/>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95745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3278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917898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3160573"/>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7343558"/>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6923921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408454"/>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289209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99497"/>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530754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8352495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967008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15627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3852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7818394"/>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6427470"/>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65764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565607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9176249"/>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642016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5628411"/>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2904937"/>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7772247"/>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382087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86385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3317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3256464"/>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4366591"/>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1022379"/>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42610497"/>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1646121"/>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901858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269870"/>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6562895"/>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602329"/>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498637"/>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763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6535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52425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2510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0769376"/>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2643132"/>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00176903"/>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875083"/>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8845849"/>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9018554"/>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9339255"/>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0072386"/>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8910505"/>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3490683"/>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3228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48659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7584946"/>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9677871"/>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1914261"/>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0306014"/>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91903065"/>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46181113"/>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622891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1379874"/>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7934372"/>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373113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90668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10859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6135516"/>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2972501"/>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9349529"/>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6342414"/>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17171279"/>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4432772"/>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57678091"/>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8474962"/>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8621919"/>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7940269"/>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2596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6799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1042621"/>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5784644"/>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0541749"/>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4982571"/>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89170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5/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72730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262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535357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35716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1194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73981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47022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0086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77188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8086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47303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0648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1552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677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31650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28981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608488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82136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06728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9776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02888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3589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14356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7272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77577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5017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56525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89758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14906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7176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437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7608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75433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5/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5915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678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